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35"/>
  </p:notesMasterIdLst>
  <p:handoutMasterIdLst>
    <p:handoutMasterId r:id="rId36"/>
  </p:handoutMasterIdLst>
  <p:sldIdLst>
    <p:sldId id="391" r:id="rId5"/>
    <p:sldId id="392" r:id="rId6"/>
    <p:sldId id="393" r:id="rId7"/>
    <p:sldId id="394" r:id="rId8"/>
    <p:sldId id="395" r:id="rId9"/>
    <p:sldId id="396" r:id="rId10"/>
    <p:sldId id="397" r:id="rId11"/>
    <p:sldId id="398" r:id="rId12"/>
    <p:sldId id="399" r:id="rId13"/>
    <p:sldId id="400" r:id="rId14"/>
    <p:sldId id="401" r:id="rId15"/>
    <p:sldId id="402" r:id="rId16"/>
    <p:sldId id="404" r:id="rId17"/>
    <p:sldId id="403" r:id="rId18"/>
    <p:sldId id="405" r:id="rId19"/>
    <p:sldId id="406" r:id="rId20"/>
    <p:sldId id="407" r:id="rId21"/>
    <p:sldId id="408" r:id="rId22"/>
    <p:sldId id="409" r:id="rId23"/>
    <p:sldId id="410" r:id="rId24"/>
    <p:sldId id="411" r:id="rId25"/>
    <p:sldId id="412" r:id="rId26"/>
    <p:sldId id="415" r:id="rId27"/>
    <p:sldId id="413" r:id="rId28"/>
    <p:sldId id="414" r:id="rId29"/>
    <p:sldId id="416" r:id="rId30"/>
    <p:sldId id="417" r:id="rId31"/>
    <p:sldId id="418" r:id="rId32"/>
    <p:sldId id="419" r:id="rId33"/>
    <p:sldId id="420" r:id="rId34"/>
  </p:sldIdLst>
  <p:sldSz cx="12192000" cy="6858000"/>
  <p:notesSz cx="6858000" cy="91440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4ACDF8AA-B809-4BD8-89E2-1145D5D233FA}">
          <p14:sldIdLst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0"/>
            <p14:sldId id="401"/>
            <p14:sldId id="402"/>
            <p14:sldId id="404"/>
            <p14:sldId id="403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5"/>
            <p14:sldId id="413"/>
            <p14:sldId id="414"/>
            <p14:sldId id="416"/>
            <p14:sldId id="417"/>
            <p14:sldId id="418"/>
            <p14:sldId id="419"/>
            <p14:sldId id="42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0E0E0"/>
    <a:srgbClr val="DC202E"/>
    <a:srgbClr val="FFFFFF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7A94D0E-443D-4639-97FE-086F32DFDD99}" v="864" dt="2020-06-30T10:46:32.7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211" autoAdjust="0"/>
    <p:restoredTop sz="97520" autoAdjust="0"/>
  </p:normalViewPr>
  <p:slideViewPr>
    <p:cSldViewPr snapToGrid="0" snapToObjects="1" showGuides="1">
      <p:cViewPr varScale="1">
        <p:scale>
          <a:sx n="67" d="100"/>
          <a:sy n="67" d="100"/>
        </p:scale>
        <p:origin x="292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768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6/3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6/3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June 30, 2020</a:t>
            </a:fld>
            <a:endParaRPr lang="en-US" dirty="0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June 30, 2020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2" imgW="347" imgH="348" progId="TCLayout.ActiveDocument.1">
                  <p:embed/>
                </p:oleObj>
              </mc:Choice>
              <mc:Fallback>
                <p:oleObj name="think-cell Slide" r:id="rId42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10" r:id="rId3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31.xml"/><Relationship Id="rId7" Type="http://schemas.openxmlformats.org/officeDocument/2006/relationships/image" Target="../media/image25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33.xml"/><Relationship Id="rId7" Type="http://schemas.openxmlformats.org/officeDocument/2006/relationships/image" Target="../media/image2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30.png"/><Relationship Id="rId4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2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2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5.xml"/><Relationship Id="rId7" Type="http://schemas.openxmlformats.org/officeDocument/2006/relationships/image" Target="../media/image8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36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tags" Target="../tags/tag45.xml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41.pn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45.jpeg"/><Relationship Id="rId10" Type="http://schemas.openxmlformats.org/officeDocument/2006/relationships/image" Target="../media/image40.png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46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49.xml"/><Relationship Id="rId7" Type="http://schemas.openxmlformats.org/officeDocument/2006/relationships/image" Target="../media/image47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46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51.xml"/><Relationship Id="rId7" Type="http://schemas.openxmlformats.org/officeDocument/2006/relationships/image" Target="../media/image47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tags" Target="../tags/tag53.xml"/><Relationship Id="rId7" Type="http://schemas.openxmlformats.org/officeDocument/2006/relationships/image" Target="../media/image51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5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54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57.xml"/><Relationship Id="rId7" Type="http://schemas.openxmlformats.org/officeDocument/2006/relationships/image" Target="../media/image55.png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5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tags" Target="../tags/tag59.xml"/><Relationship Id="rId7" Type="http://schemas.openxmlformats.org/officeDocument/2006/relationships/image" Target="../media/image54.png"/><Relationship Id="rId2" Type="http://schemas.openxmlformats.org/officeDocument/2006/relationships/tags" Target="../tags/tag5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5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59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17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3" Type="http://schemas.openxmlformats.org/officeDocument/2006/relationships/tags" Target="../tags/tag63.xml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11" Type="http://schemas.openxmlformats.org/officeDocument/2006/relationships/image" Target="../media/image64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63.png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9.xml"/><Relationship Id="rId7" Type="http://schemas.openxmlformats.org/officeDocument/2006/relationships/image" Target="../media/image14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21.xml"/><Relationship Id="rId7" Type="http://schemas.openxmlformats.org/officeDocument/2006/relationships/image" Target="../media/image1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25.xml"/><Relationship Id="rId7" Type="http://schemas.openxmlformats.org/officeDocument/2006/relationships/image" Target="../media/image20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27.xml"/><Relationship Id="rId7" Type="http://schemas.openxmlformats.org/officeDocument/2006/relationships/image" Target="../media/image20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6213844" cy="201930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Literature Review</a:t>
            </a:r>
            <a:br>
              <a:rPr lang="en-US" dirty="0">
                <a:solidFill>
                  <a:schemeClr val="accent1"/>
                </a:solidFill>
              </a:rPr>
            </a:br>
            <a:r>
              <a:rPr lang="en-US" dirty="0"/>
              <a:t>VI-SLAM</a:t>
            </a:r>
            <a:br>
              <a:rPr lang="en-US" dirty="0"/>
            </a:br>
            <a:r>
              <a:rPr lang="en-US" dirty="0"/>
              <a:t>VINS-Mono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itvik Pandey</a:t>
            </a:r>
          </a:p>
          <a:p>
            <a:pPr lvl="1"/>
            <a:r>
              <a:rPr lang="en-US" dirty="0"/>
              <a:t>Intern H402743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72E0E4-01A1-4C54-9EE7-019C7AA10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EB09EA-9CA7-4BA1-BA03-DEEDCA49E371}" type="datetime4">
              <a:rPr kumimoji="0" lang="en-US" sz="16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ne 30, 202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29823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tering: Dynamic observational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3004479"/>
          </a:xfrm>
        </p:spPr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Usage</a:t>
            </a:r>
          </a:p>
          <a:p>
            <a:pPr lvl="1"/>
            <a:r>
              <a:rPr lang="en-US" dirty="0"/>
              <a:t>Serves as both control and state estimation of the </a:t>
            </a:r>
            <a:r>
              <a:rPr lang="en-US" b="1" dirty="0"/>
              <a:t>filtering pipeline</a:t>
            </a:r>
          </a:p>
          <a:p>
            <a:pPr marL="0" lvl="1" indent="0">
              <a:buNone/>
            </a:pPr>
            <a:r>
              <a:rPr lang="en-US" b="1" dirty="0">
                <a:solidFill>
                  <a:prstClr val="black"/>
                </a:solidFill>
              </a:rPr>
              <a:t>Need</a:t>
            </a:r>
          </a:p>
          <a:p>
            <a:pPr lvl="1"/>
            <a:r>
              <a:rPr lang="en-US" dirty="0"/>
              <a:t>In real world, data arrives with lag so an estimation is need of state of drone at each moment in time</a:t>
            </a:r>
          </a:p>
          <a:p>
            <a:pPr marL="0" lvl="1" indent="0">
              <a:buNone/>
            </a:pPr>
            <a:endParaRPr lang="en-US" b="1" dirty="0">
              <a:solidFill>
                <a:prstClr val="black"/>
              </a:solidFill>
            </a:endParaRPr>
          </a:p>
          <a:p>
            <a:pPr marL="0" lvl="1" indent="0">
              <a:buNone/>
            </a:pP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rediction of state using previous state and control vector with nois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2924F27-1E40-4163-B67E-CC2D307C9775}"/>
                  </a:ext>
                </a:extLst>
              </p:cNvPr>
              <p:cNvSpPr txBox="1"/>
              <p:nvPr/>
            </p:nvSpPr>
            <p:spPr>
              <a:xfrm>
                <a:off x="495299" y="4551835"/>
                <a:ext cx="5372101" cy="8964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sub>
                    </m:sSub>
                  </m:oMath>
                </a14:m>
                <a:r>
                  <a:rPr lang="en-US" sz="3600" dirty="0"/>
                  <a:t>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36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nor/>
                          </m:rPr>
                          <a:rPr lang="en-US" sz="3600" dirty="0"/>
                          <m:t>[</m:t>
                        </m:r>
                        <m:sSubSup>
                          <m:sSubSupPr>
                            <m:ctrlPr>
                              <a:rPr lang="en-US" sz="36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r>
                          <a:rPr lang="en-US" sz="3600" dirty="0">
                            <a:latin typeface="Cambria Math" panose="02040503050406030204" pitchFamily="18" charset="0"/>
                          </a:rPr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]</m:t>
                        </m:r>
                      </m:e>
                      <m:sup>
                        <m:r>
                          <a:rPr lang="en-US" sz="3600" b="0" i="1" dirty="0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endParaRPr lang="en-US" sz="3600" dirty="0"/>
              </a:p>
              <a:p>
                <a:pPr algn="ctr"/>
                <a:r>
                  <a:rPr lang="en-US" b="1" dirty="0"/>
                  <a:t>IMU measurement at any time T</a:t>
                </a: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2924F27-1E40-4163-B67E-CC2D307C97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299" y="4551835"/>
                <a:ext cx="5372101" cy="896464"/>
              </a:xfrm>
              <a:prstGeom prst="rect">
                <a:avLst/>
              </a:prstGeom>
              <a:blipFill>
                <a:blip r:embed="rId7"/>
                <a:stretch>
                  <a:fillRect t="-14286" b="-149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61BFFE-9437-422F-ABC1-556E3026FF0B}"/>
                  </a:ext>
                </a:extLst>
              </p:cNvPr>
              <p:cNvSpPr txBox="1"/>
              <p:nvPr/>
            </p:nvSpPr>
            <p:spPr>
              <a:xfrm>
                <a:off x="7203487" y="1194157"/>
                <a:ext cx="39962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3600" i="1" dirty="0"/>
                  <a:t> = f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</m:oMath>
                </a14:m>
                <a:r>
                  <a:rPr lang="en-US" sz="3600" i="1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3600" i="1" dirty="0"/>
                  <a:t>)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endParaRPr lang="en-US" sz="3600" i="1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61BFFE-9437-422F-ABC1-556E3026FF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3487" y="1194157"/>
                <a:ext cx="3996268" cy="553998"/>
              </a:xfrm>
              <a:prstGeom prst="rect">
                <a:avLst/>
              </a:prstGeom>
              <a:blipFill>
                <a:blip r:embed="rId8"/>
                <a:stretch>
                  <a:fillRect t="-25275" b="-483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2">
            <a:extLst>
              <a:ext uri="{FF2B5EF4-FFF2-40B4-BE49-F238E27FC236}">
                <a16:creationId xmlns:a16="http://schemas.microsoft.com/office/drawing/2014/main" id="{609F11B4-359C-4742-B887-BD8E0EF043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420445" y="2446486"/>
            <a:ext cx="3562351" cy="3303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D69DDBF-8829-4A29-BC67-8DF96A755B7A}"/>
              </a:ext>
            </a:extLst>
          </p:cNvPr>
          <p:cNvSpPr txBox="1"/>
          <p:nvPr/>
        </p:nvSpPr>
        <p:spPr>
          <a:xfrm>
            <a:off x="8174295" y="2016160"/>
            <a:ext cx="2054650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Prediction Phase</a:t>
            </a:r>
          </a:p>
        </p:txBody>
      </p:sp>
    </p:spTree>
    <p:extLst>
      <p:ext uri="{BB962C8B-B14F-4D97-AF65-F5344CB8AC3E}">
        <p14:creationId xmlns:p14="http://schemas.microsoft.com/office/powerpoint/2010/main" val="9953611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tering: Dynamic observational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3004479"/>
          </a:xfrm>
        </p:spPr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Usage</a:t>
            </a:r>
          </a:p>
          <a:p>
            <a:pPr lvl="1"/>
            <a:r>
              <a:rPr lang="en-US" dirty="0"/>
              <a:t>Serves as both control and state estimation of the </a:t>
            </a:r>
            <a:r>
              <a:rPr lang="en-US" b="1" dirty="0"/>
              <a:t>filtering pipeline</a:t>
            </a:r>
          </a:p>
          <a:p>
            <a:pPr marL="0" lvl="1" indent="0">
              <a:buNone/>
            </a:pPr>
            <a:r>
              <a:rPr lang="en-US" b="1" dirty="0">
                <a:solidFill>
                  <a:prstClr val="black"/>
                </a:solidFill>
              </a:rPr>
              <a:t>Need</a:t>
            </a:r>
          </a:p>
          <a:p>
            <a:pPr lvl="1"/>
            <a:r>
              <a:rPr lang="en-US" dirty="0"/>
              <a:t>In real world, data arrives with lag so an estimation is need of state of drone at each moment in time</a:t>
            </a:r>
          </a:p>
          <a:p>
            <a:pPr marL="0" lvl="1" indent="0">
              <a:buNone/>
            </a:pPr>
            <a:endParaRPr lang="en-US" b="1" dirty="0">
              <a:solidFill>
                <a:prstClr val="black"/>
              </a:solidFill>
            </a:endParaRPr>
          </a:p>
          <a:p>
            <a:pPr marL="0" lvl="1" indent="0">
              <a:buNone/>
            </a:pP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rediction of state using previous state and control vector with nois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2924F27-1E40-4163-B67E-CC2D307C9775}"/>
                  </a:ext>
                </a:extLst>
              </p:cNvPr>
              <p:cNvSpPr txBox="1"/>
              <p:nvPr/>
            </p:nvSpPr>
            <p:spPr>
              <a:xfrm>
                <a:off x="495299" y="4551835"/>
                <a:ext cx="5372101" cy="8964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sub>
                    </m:sSub>
                  </m:oMath>
                </a14:m>
                <a:r>
                  <a:rPr lang="en-US" sz="3600" dirty="0"/>
                  <a:t>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36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nor/>
                          </m:rPr>
                          <a:rPr lang="en-US" sz="3600" dirty="0"/>
                          <m:t>[</m:t>
                        </m:r>
                        <m:sSubSup>
                          <m:sSubSupPr>
                            <m:ctrlPr>
                              <a:rPr lang="en-US" sz="36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r>
                          <a:rPr lang="en-US" sz="3600" dirty="0">
                            <a:latin typeface="Cambria Math" panose="02040503050406030204" pitchFamily="18" charset="0"/>
                          </a:rPr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]</m:t>
                        </m:r>
                      </m:e>
                      <m:sup>
                        <m:r>
                          <a:rPr lang="en-US" sz="3600" b="0" i="1" dirty="0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endParaRPr lang="en-US" sz="3600" dirty="0"/>
              </a:p>
              <a:p>
                <a:pPr algn="ctr"/>
                <a:r>
                  <a:rPr lang="en-US" b="1" dirty="0"/>
                  <a:t>IMU measurement at any time T</a:t>
                </a: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2924F27-1E40-4163-B67E-CC2D307C97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299" y="4551835"/>
                <a:ext cx="5372101" cy="896464"/>
              </a:xfrm>
              <a:prstGeom prst="rect">
                <a:avLst/>
              </a:prstGeom>
              <a:blipFill>
                <a:blip r:embed="rId7"/>
                <a:stretch>
                  <a:fillRect t="-14286" b="-149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61BFFE-9437-422F-ABC1-556E3026FF0B}"/>
                  </a:ext>
                </a:extLst>
              </p:cNvPr>
              <p:cNvSpPr txBox="1"/>
              <p:nvPr/>
            </p:nvSpPr>
            <p:spPr>
              <a:xfrm>
                <a:off x="7203487" y="1194157"/>
                <a:ext cx="39962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3600" i="1" dirty="0"/>
                  <a:t> = f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</m:oMath>
                </a14:m>
                <a:r>
                  <a:rPr lang="en-US" sz="3600" i="1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3600" i="1" dirty="0"/>
                  <a:t>)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endParaRPr lang="en-US" sz="3600" i="1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61BFFE-9437-422F-ABC1-556E3026FF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3487" y="1194157"/>
                <a:ext cx="3996268" cy="553998"/>
              </a:xfrm>
              <a:prstGeom prst="rect">
                <a:avLst/>
              </a:prstGeom>
              <a:blipFill>
                <a:blip r:embed="rId8"/>
                <a:stretch>
                  <a:fillRect t="-25275" b="-483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" name="Picture 2">
            <a:extLst>
              <a:ext uri="{FF2B5EF4-FFF2-40B4-BE49-F238E27FC236}">
                <a16:creationId xmlns:a16="http://schemas.microsoft.com/office/drawing/2014/main" id="{2AF4FC84-2B45-44F1-A0A6-BAF6E68496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554133" y="2027912"/>
            <a:ext cx="6451600" cy="356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76275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5600700" cy="201930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</a:t>
            </a:r>
            <a:br>
              <a:rPr lang="en-US" dirty="0">
                <a:solidFill>
                  <a:schemeClr val="accent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Modules and working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931344-B63A-4C5F-9B85-6372B6607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82C2F6-491A-44E6-B818-5FD5EEA2B2B8}" type="datetime4">
              <a:rPr kumimoji="0" lang="en-US" sz="16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ne 30, 202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56526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46D64B0A-36B9-4EAB-B165-3374A28353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131121" flipH="1">
            <a:off x="4050712" y="3567371"/>
            <a:ext cx="2574132" cy="2308325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4E18BE-06F0-4A0F-B959-AEE939404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4E18BE-06F0-4A0F-B959-AEE939404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92975B-8437-403E-ADEF-FE4B22D844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540982"/>
            <a:ext cx="5372100" cy="2409226"/>
          </a:xfrm>
        </p:spPr>
        <p:txBody>
          <a:bodyPr/>
          <a:lstStyle/>
          <a:p>
            <a:pPr lvl="0"/>
            <a:r>
              <a:rPr lang="en-US" sz="2800" dirty="0"/>
              <a:t>Local odome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What is happening loc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Optimizing for local odometry err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Relation with previous few frames and using intermediate IMU data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A94118-0CDC-4BFF-84BF-5F09FB36388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540982"/>
            <a:ext cx="5372100" cy="2738410"/>
          </a:xfrm>
        </p:spPr>
        <p:txBody>
          <a:bodyPr/>
          <a:lstStyle/>
          <a:p>
            <a:pPr lvl="0"/>
            <a:r>
              <a:rPr lang="en-US" sz="2800" dirty="0"/>
              <a:t>Global odome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What is global pi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aking previously accumulated errors in accou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Relation with frames acquired long time back and visiting same poin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" y="5993367"/>
            <a:ext cx="12192000" cy="369332"/>
          </a:xfrm>
        </p:spPr>
        <p:txBody>
          <a:bodyPr/>
          <a:lstStyle/>
          <a:p>
            <a:r>
              <a:rPr lang="en-US" sz="2000" dirty="0"/>
              <a:t>As new frames arrive, we push older keyframes to pose graph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24FB3F8-47CF-4E17-9AD2-083C283D0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Introduc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EC514C0-877D-4881-9C2B-7E8C1FF03524}"/>
              </a:ext>
            </a:extLst>
          </p:cNvPr>
          <p:cNvSpPr txBox="1"/>
          <p:nvPr/>
        </p:nvSpPr>
        <p:spPr>
          <a:xfrm>
            <a:off x="495300" y="1110852"/>
            <a:ext cx="1120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/>
              <a:t>State of the art tightly coupled non-linear optimization based SLAM </a:t>
            </a:r>
            <a:endParaRPr lang="en-US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693C8C9-68BC-43C9-9E03-5228302030D2}"/>
              </a:ext>
            </a:extLst>
          </p:cNvPr>
          <p:cNvSpPr txBox="1"/>
          <p:nvPr/>
        </p:nvSpPr>
        <p:spPr>
          <a:xfrm>
            <a:off x="7297100" y="4721533"/>
            <a:ext cx="2931160" cy="36933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GLOBAL POSE GRAP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0184A8C-9EE2-4499-A743-A15BFF37D3C0}"/>
              </a:ext>
            </a:extLst>
          </p:cNvPr>
          <p:cNvSpPr txBox="1"/>
          <p:nvPr/>
        </p:nvSpPr>
        <p:spPr>
          <a:xfrm>
            <a:off x="1383951" y="4704064"/>
            <a:ext cx="2178685" cy="36933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SLIDING WINDOW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732CACE-F705-4884-831C-5136222A2AEE}"/>
              </a:ext>
            </a:extLst>
          </p:cNvPr>
          <p:cNvCxnSpPr>
            <a:stCxn id="17" idx="3"/>
          </p:cNvCxnSpPr>
          <p:nvPr/>
        </p:nvCxnSpPr>
        <p:spPr>
          <a:xfrm>
            <a:off x="3562636" y="4888730"/>
            <a:ext cx="625316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455140A-9662-4AF6-8646-AB054540B08A}"/>
              </a:ext>
            </a:extLst>
          </p:cNvPr>
          <p:cNvCxnSpPr>
            <a:cxnSpLocks/>
            <a:stCxn id="16" idx="1"/>
          </p:cNvCxnSpPr>
          <p:nvPr/>
        </p:nvCxnSpPr>
        <p:spPr>
          <a:xfrm flipH="1">
            <a:off x="6555801" y="4906199"/>
            <a:ext cx="7412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87952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D8DB73-23DC-4549-9497-A05FBB85FC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905001"/>
            <a:ext cx="5372100" cy="4457700"/>
          </a:xfrm>
        </p:spPr>
        <p:txBody>
          <a:bodyPr/>
          <a:lstStyle/>
          <a:p>
            <a:r>
              <a:rPr lang="en-US" dirty="0"/>
              <a:t>Pre-processing</a:t>
            </a:r>
          </a:p>
          <a:p>
            <a:pPr lvl="1">
              <a:buNone/>
            </a:pPr>
            <a:r>
              <a:rPr lang="en-US" dirty="0"/>
              <a:t>Camera and IMU data is pre-processed and corrected for error before it is sent to any other module</a:t>
            </a:r>
          </a:p>
          <a:p>
            <a:r>
              <a:rPr lang="en-US" dirty="0"/>
              <a:t>Initialization</a:t>
            </a:r>
          </a:p>
          <a:p>
            <a:pPr lvl="1">
              <a:buNone/>
            </a:pPr>
            <a:r>
              <a:rPr lang="en-US" dirty="0"/>
              <a:t>Getting initial estimation of position, velocity, orientation and scale</a:t>
            </a:r>
          </a:p>
          <a:p>
            <a:pPr lvl="0"/>
            <a:r>
              <a:rPr lang="en-US" dirty="0">
                <a:solidFill>
                  <a:prstClr val="black"/>
                </a:solidFill>
              </a:rPr>
              <a:t>Core VIO algorithms</a:t>
            </a: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Successively updating state from previous state and new visual and </a:t>
            </a:r>
            <a:r>
              <a:rPr lang="en-US" dirty="0" err="1">
                <a:solidFill>
                  <a:prstClr val="black"/>
                </a:solidFill>
              </a:rPr>
              <a:t>Imu</a:t>
            </a:r>
            <a:r>
              <a:rPr lang="en-US" dirty="0">
                <a:solidFill>
                  <a:prstClr val="black"/>
                </a:solidFill>
              </a:rPr>
              <a:t> feeds.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8D7555-CE33-4267-9987-E5FF8C3A9CD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905001"/>
            <a:ext cx="5372100" cy="4457700"/>
          </a:xfrm>
        </p:spPr>
        <p:txBody>
          <a:bodyPr/>
          <a:lstStyle/>
          <a:p>
            <a:pPr lvl="0">
              <a:buFont typeface="+mj-lt"/>
              <a:buAutoNum type="arabicPeriod" startAt="4"/>
            </a:pPr>
            <a:r>
              <a:rPr lang="en-US" dirty="0" err="1">
                <a:solidFill>
                  <a:prstClr val="black"/>
                </a:solidFill>
              </a:rPr>
              <a:t>Relocalization</a:t>
            </a:r>
            <a:endParaRPr lang="en-US" dirty="0">
              <a:solidFill>
                <a:prstClr val="black"/>
              </a:solidFill>
            </a:endParaRP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On loop closure, the sliding window is optimized for newer position in space based on closure constraints</a:t>
            </a:r>
          </a:p>
          <a:p>
            <a:pPr lvl="0"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Global pose graph optimization</a:t>
            </a: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After </a:t>
            </a:r>
            <a:r>
              <a:rPr lang="en-US" dirty="0" err="1">
                <a:solidFill>
                  <a:prstClr val="black"/>
                </a:solidFill>
              </a:rPr>
              <a:t>relocalization</a:t>
            </a:r>
            <a:r>
              <a:rPr lang="en-US" dirty="0">
                <a:solidFill>
                  <a:prstClr val="black"/>
                </a:solidFill>
              </a:rPr>
              <a:t>, previous pose graph must be adjusted accordingly </a:t>
            </a:r>
          </a:p>
          <a:p>
            <a:pPr lvl="0"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Temporal </a:t>
            </a:r>
            <a:r>
              <a:rPr lang="en-US" dirty="0" err="1">
                <a:solidFill>
                  <a:prstClr val="black"/>
                </a:solidFill>
              </a:rPr>
              <a:t>Caliberation</a:t>
            </a:r>
            <a:endParaRPr lang="en-US" dirty="0">
              <a:solidFill>
                <a:prstClr val="black"/>
              </a:solidFill>
            </a:endParaRP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Additionally, time delay b/w visual and IMU data must be estimated</a:t>
            </a:r>
          </a:p>
          <a:p>
            <a:pPr>
              <a:buAutoNum type="arabicPeriod" startAt="4"/>
            </a:pP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2F5FAD3-BD54-4DFF-AA2C-FB3A7746D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3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27F6EF-411F-41B6-BAE3-3368D41070EF}"/>
              </a:ext>
            </a:extLst>
          </p:cNvPr>
          <p:cNvSpPr txBox="1"/>
          <p:nvPr/>
        </p:nvSpPr>
        <p:spPr>
          <a:xfrm>
            <a:off x="495300" y="1110852"/>
            <a:ext cx="1120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/>
              <a:t>State of the art tightly coupled non-linear optimization based SLAM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174044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Introduction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2F5FAD3-BD54-4DFF-AA2C-FB3A7746D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4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27F6EF-411F-41B6-BAE3-3368D41070EF}"/>
              </a:ext>
            </a:extLst>
          </p:cNvPr>
          <p:cNvSpPr txBox="1"/>
          <p:nvPr/>
        </p:nvSpPr>
        <p:spPr>
          <a:xfrm>
            <a:off x="495300" y="1110852"/>
            <a:ext cx="1120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/>
              <a:t>State of the art tightly coupled non-linear optimization based SLAM 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16893827-1B80-4AD3-9BFD-7651D904F5A9}"/>
              </a:ext>
            </a:extLst>
          </p:cNvPr>
          <p:cNvGrpSpPr/>
          <p:nvPr/>
        </p:nvGrpSpPr>
        <p:grpSpPr>
          <a:xfrm>
            <a:off x="143258" y="1387851"/>
            <a:ext cx="11689077" cy="5127962"/>
            <a:chOff x="143258" y="1317619"/>
            <a:chExt cx="11689077" cy="5198194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3B89BF7-654F-4991-85AC-9BEF4DCF9558}"/>
                </a:ext>
              </a:extLst>
            </p:cNvPr>
            <p:cNvSpPr txBox="1"/>
            <p:nvPr/>
          </p:nvSpPr>
          <p:spPr>
            <a:xfrm>
              <a:off x="4907860" y="1605838"/>
              <a:ext cx="1948570" cy="369332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Pre-Processing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B3F2F0D-1998-4790-AF78-59B2D48B4A71}"/>
                </a:ext>
              </a:extLst>
            </p:cNvPr>
            <p:cNvSpPr txBox="1"/>
            <p:nvPr/>
          </p:nvSpPr>
          <p:spPr>
            <a:xfrm>
              <a:off x="607051" y="1455772"/>
              <a:ext cx="1031249" cy="369332"/>
            </a:xfrm>
            <a:prstGeom prst="rect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dirty="0"/>
                <a:t>Camera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34817D-1012-42BB-8704-406D0E4A602B}"/>
                </a:ext>
              </a:extLst>
            </p:cNvPr>
            <p:cNvSpPr txBox="1"/>
            <p:nvPr/>
          </p:nvSpPr>
          <p:spPr>
            <a:xfrm>
              <a:off x="570218" y="1940830"/>
              <a:ext cx="1117193" cy="369332"/>
            </a:xfrm>
            <a:prstGeom prst="rect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dirty="0"/>
                <a:t>IMU data</a:t>
              </a: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EB21B8E2-0F91-450D-9603-F12161A6E16A}"/>
                </a:ext>
              </a:extLst>
            </p:cNvPr>
            <p:cNvCxnSpPr>
              <a:cxnSpLocks/>
              <a:stCxn id="14" idx="3"/>
              <a:endCxn id="13" idx="1"/>
            </p:cNvCxnSpPr>
            <p:nvPr/>
          </p:nvCxnSpPr>
          <p:spPr>
            <a:xfrm>
              <a:off x="1638300" y="1640438"/>
              <a:ext cx="3269560" cy="15006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AE87010B-0289-4D16-AF58-A8ECFD56DEED}"/>
                </a:ext>
              </a:extLst>
            </p:cNvPr>
            <p:cNvCxnSpPr>
              <a:cxnSpLocks/>
              <a:stCxn id="15" idx="3"/>
              <a:endCxn id="13" idx="1"/>
            </p:cNvCxnSpPr>
            <p:nvPr/>
          </p:nvCxnSpPr>
          <p:spPr>
            <a:xfrm flipV="1">
              <a:off x="1687411" y="1790504"/>
              <a:ext cx="3220449" cy="334992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166D38D8-139B-4E0E-8311-294CE9E9D8B5}"/>
                </a:ext>
              </a:extLst>
            </p:cNvPr>
            <p:cNvCxnSpPr>
              <a:cxnSpLocks/>
              <a:stCxn id="13" idx="3"/>
              <a:endCxn id="19" idx="1"/>
            </p:cNvCxnSpPr>
            <p:nvPr/>
          </p:nvCxnSpPr>
          <p:spPr>
            <a:xfrm flipV="1">
              <a:off x="6856430" y="1779284"/>
              <a:ext cx="2418161" cy="1122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544B4F7-FF3C-4701-9803-6F7F4541252A}"/>
                </a:ext>
              </a:extLst>
            </p:cNvPr>
            <p:cNvSpPr txBox="1"/>
            <p:nvPr/>
          </p:nvSpPr>
          <p:spPr>
            <a:xfrm>
              <a:off x="9274591" y="1317619"/>
              <a:ext cx="1399536" cy="923330"/>
            </a:xfrm>
            <a:prstGeom prst="rect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Initialization </a:t>
              </a:r>
            </a:p>
            <a:p>
              <a:pPr algn="ctr"/>
              <a:r>
                <a:rPr lang="en-US" dirty="0"/>
                <a:t>or </a:t>
              </a:r>
            </a:p>
            <a:p>
              <a:pPr algn="ctr"/>
              <a:r>
                <a:rPr lang="en-US" dirty="0"/>
                <a:t>Core-VIO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AAFE060-5523-42F9-813F-630B4855932D}"/>
                </a:ext>
              </a:extLst>
            </p:cNvPr>
            <p:cNvSpPr txBox="1"/>
            <p:nvPr/>
          </p:nvSpPr>
          <p:spPr>
            <a:xfrm>
              <a:off x="255177" y="2987751"/>
              <a:ext cx="2030947" cy="369332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dirty="0"/>
                <a:t>No initial estimat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DBEE27A-6FEC-421F-B071-D098507172B3}"/>
                </a:ext>
              </a:extLst>
            </p:cNvPr>
            <p:cNvSpPr txBox="1"/>
            <p:nvPr/>
          </p:nvSpPr>
          <p:spPr>
            <a:xfrm>
              <a:off x="4732379" y="2874753"/>
              <a:ext cx="2872995" cy="646331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Initialization</a:t>
              </a:r>
            </a:p>
            <a:p>
              <a:r>
                <a:rPr lang="en-US" b="1" dirty="0"/>
                <a:t>+ failure detection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CC64499-28CB-4DC7-BB82-440565311A95}"/>
                </a:ext>
              </a:extLst>
            </p:cNvPr>
            <p:cNvSpPr/>
            <p:nvPr/>
          </p:nvSpPr>
          <p:spPr>
            <a:xfrm>
              <a:off x="9061471" y="2814620"/>
              <a:ext cx="2074942" cy="798221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4A2FCBB-5E33-4103-B99C-5E5C28D0E1B2}"/>
                </a:ext>
              </a:extLst>
            </p:cNvPr>
            <p:cNvSpPr txBox="1"/>
            <p:nvPr/>
          </p:nvSpPr>
          <p:spPr>
            <a:xfrm>
              <a:off x="9139230" y="2887396"/>
              <a:ext cx="1997183" cy="646331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dirty="0"/>
                <a:t>Starting  estimate</a:t>
              </a:r>
            </a:p>
            <a:p>
              <a:r>
                <a:rPr lang="en-US" dirty="0"/>
                <a:t>for Core-VIO</a:t>
              </a:r>
            </a:p>
          </p:txBody>
        </p: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BAC37D23-90C7-4A7B-A530-F1C73B727FA4}"/>
                </a:ext>
              </a:extLst>
            </p:cNvPr>
            <p:cNvCxnSpPr>
              <a:cxnSpLocks/>
              <a:stCxn id="26" idx="6"/>
              <a:endCxn id="21" idx="1"/>
            </p:cNvCxnSpPr>
            <p:nvPr/>
          </p:nvCxnSpPr>
          <p:spPr>
            <a:xfrm>
              <a:off x="2255543" y="3178513"/>
              <a:ext cx="2476836" cy="1940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D08C1163-918C-4939-8C7D-2CF369F64915}"/>
                </a:ext>
              </a:extLst>
            </p:cNvPr>
            <p:cNvCxnSpPr>
              <a:cxnSpLocks/>
              <a:stCxn id="21" idx="3"/>
              <a:endCxn id="22" idx="2"/>
            </p:cNvCxnSpPr>
            <p:nvPr/>
          </p:nvCxnSpPr>
          <p:spPr>
            <a:xfrm>
              <a:off x="7605374" y="3197919"/>
              <a:ext cx="1456097" cy="15812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F1E224D2-41C1-4EB2-BD59-2AFF26F225E3}"/>
                </a:ext>
              </a:extLst>
            </p:cNvPr>
            <p:cNvSpPr/>
            <p:nvPr/>
          </p:nvSpPr>
          <p:spPr>
            <a:xfrm>
              <a:off x="143258" y="2950717"/>
              <a:ext cx="2112285" cy="455591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B8D30F1-DC0F-4C41-98C2-C3A3174F7F9C}"/>
                </a:ext>
              </a:extLst>
            </p:cNvPr>
            <p:cNvSpPr txBox="1"/>
            <p:nvPr/>
          </p:nvSpPr>
          <p:spPr>
            <a:xfrm>
              <a:off x="622627" y="4565292"/>
              <a:ext cx="1164697" cy="646331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dirty="0"/>
                <a:t>Previous estimates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3222FA7-B0E8-44B6-A13C-CA3CF0E211AC}"/>
                </a:ext>
              </a:extLst>
            </p:cNvPr>
            <p:cNvSpPr/>
            <p:nvPr/>
          </p:nvSpPr>
          <p:spPr>
            <a:xfrm>
              <a:off x="495300" y="4496667"/>
              <a:ext cx="1419350" cy="808531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67EF9C9-B3F5-46F3-B3F7-63C2E4A044DF}"/>
                </a:ext>
              </a:extLst>
            </p:cNvPr>
            <p:cNvSpPr txBox="1"/>
            <p:nvPr/>
          </p:nvSpPr>
          <p:spPr>
            <a:xfrm>
              <a:off x="4488869" y="4687122"/>
              <a:ext cx="2367561" cy="369332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Core-VIO algorithm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E2888C9-F84A-4471-962E-2DD9BFEC9FF7}"/>
                </a:ext>
              </a:extLst>
            </p:cNvPr>
            <p:cNvSpPr txBox="1"/>
            <p:nvPr/>
          </p:nvSpPr>
          <p:spPr>
            <a:xfrm>
              <a:off x="9321016" y="4662350"/>
              <a:ext cx="1700472" cy="646331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dirty="0"/>
                <a:t>New estimates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9DC8233A-6383-4B2A-A0C0-517115E61A54}"/>
                </a:ext>
              </a:extLst>
            </p:cNvPr>
            <p:cNvSpPr/>
            <p:nvPr/>
          </p:nvSpPr>
          <p:spPr>
            <a:xfrm>
              <a:off x="9274590" y="4528050"/>
              <a:ext cx="1746897" cy="606781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D2B2E5BA-4F21-4088-A186-CDFA22294403}"/>
                </a:ext>
              </a:extLst>
            </p:cNvPr>
            <p:cNvCxnSpPr>
              <a:cxnSpLocks/>
              <a:stCxn id="28" idx="6"/>
              <a:endCxn id="29" idx="1"/>
            </p:cNvCxnSpPr>
            <p:nvPr/>
          </p:nvCxnSpPr>
          <p:spPr>
            <a:xfrm flipV="1">
              <a:off x="1914650" y="4871788"/>
              <a:ext cx="2574219" cy="2914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6BD1F2EC-C4C0-47D7-BD57-A3B670CECF42}"/>
                </a:ext>
              </a:extLst>
            </p:cNvPr>
            <p:cNvCxnSpPr>
              <a:cxnSpLocks/>
              <a:stCxn id="29" idx="3"/>
              <a:endCxn id="31" idx="2"/>
            </p:cNvCxnSpPr>
            <p:nvPr/>
          </p:nvCxnSpPr>
          <p:spPr>
            <a:xfrm flipV="1">
              <a:off x="6856430" y="4831441"/>
              <a:ext cx="2418160" cy="4034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or: Elbow 33">
              <a:extLst>
                <a:ext uri="{FF2B5EF4-FFF2-40B4-BE49-F238E27FC236}">
                  <a16:creationId xmlns:a16="http://schemas.microsoft.com/office/drawing/2014/main" id="{451855AC-E84A-488B-BD83-4E50022F95A1}"/>
                </a:ext>
              </a:extLst>
            </p:cNvPr>
            <p:cNvCxnSpPr>
              <a:cxnSpLocks/>
              <a:endCxn id="21" idx="0"/>
            </p:cNvCxnSpPr>
            <p:nvPr/>
          </p:nvCxnSpPr>
          <p:spPr>
            <a:xfrm rot="10800000" flipV="1">
              <a:off x="6168877" y="2397699"/>
              <a:ext cx="5199972" cy="477053"/>
            </a:xfrm>
            <a:prstGeom prst="bentConnector2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3A95BBB3-4BBE-4E55-B281-190EBDF8D9E9}"/>
                </a:ext>
              </a:extLst>
            </p:cNvPr>
            <p:cNvCxnSpPr>
              <a:cxnSpLocks/>
              <a:endCxn id="29" idx="0"/>
            </p:cNvCxnSpPr>
            <p:nvPr/>
          </p:nvCxnSpPr>
          <p:spPr>
            <a:xfrm rot="10800000" flipV="1">
              <a:off x="5672651" y="4006686"/>
              <a:ext cx="5696199" cy="680435"/>
            </a:xfrm>
            <a:prstGeom prst="bentConnector2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0BCF9165-ADA4-479D-9725-4260D210661C}"/>
                </a:ext>
              </a:extLst>
            </p:cNvPr>
            <p:cNvCxnSpPr>
              <a:cxnSpLocks/>
              <a:endCxn id="19" idx="3"/>
            </p:cNvCxnSpPr>
            <p:nvPr/>
          </p:nvCxnSpPr>
          <p:spPr>
            <a:xfrm rot="16200000" flipV="1">
              <a:off x="9909681" y="2543730"/>
              <a:ext cx="2223614" cy="694721"/>
            </a:xfrm>
            <a:prstGeom prst="bentConnector2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7508E72-9611-43C8-8A9E-38E0585C105D}"/>
                </a:ext>
              </a:extLst>
            </p:cNvPr>
            <p:cNvSpPr txBox="1"/>
            <p:nvPr/>
          </p:nvSpPr>
          <p:spPr>
            <a:xfrm>
              <a:off x="4772146" y="5865611"/>
              <a:ext cx="2914529" cy="646331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err="1"/>
                <a:t>Relocalization</a:t>
              </a:r>
              <a:r>
                <a:rPr lang="en-US" b="1" dirty="0"/>
                <a:t> + Pose graph Optimization</a:t>
              </a:r>
            </a:p>
          </p:txBody>
        </p: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90493540-258E-4316-9A80-B3636379BAD7}"/>
                </a:ext>
              </a:extLst>
            </p:cNvPr>
            <p:cNvCxnSpPr>
              <a:cxnSpLocks/>
              <a:stCxn id="40" idx="3"/>
              <a:endCxn id="37" idx="1"/>
            </p:cNvCxnSpPr>
            <p:nvPr/>
          </p:nvCxnSpPr>
          <p:spPr>
            <a:xfrm flipV="1">
              <a:off x="2799433" y="6188777"/>
              <a:ext cx="1972713" cy="387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423B582D-7234-4B65-BB98-22F8FD649EDE}"/>
                </a:ext>
              </a:extLst>
            </p:cNvPr>
            <p:cNvCxnSpPr>
              <a:cxnSpLocks/>
              <a:stCxn id="37" idx="3"/>
            </p:cNvCxnSpPr>
            <p:nvPr/>
          </p:nvCxnSpPr>
          <p:spPr>
            <a:xfrm flipV="1">
              <a:off x="7686675" y="6188776"/>
              <a:ext cx="1379753" cy="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A55A550-5039-40B8-B7EB-3031800707D9}"/>
                </a:ext>
              </a:extLst>
            </p:cNvPr>
            <p:cNvSpPr txBox="1"/>
            <p:nvPr/>
          </p:nvSpPr>
          <p:spPr>
            <a:xfrm>
              <a:off x="225213" y="5869482"/>
              <a:ext cx="2574220" cy="646331"/>
            </a:xfrm>
            <a:prstGeom prst="rect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dirty="0"/>
                <a:t>Previously visited place</a:t>
              </a:r>
            </a:p>
            <a:p>
              <a:r>
                <a:rPr lang="en-US" dirty="0"/>
                <a:t>(Loop detected)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332EC10-32D5-48EB-A8CE-9DA6FFA87635}"/>
                </a:ext>
              </a:extLst>
            </p:cNvPr>
            <p:cNvSpPr txBox="1"/>
            <p:nvPr/>
          </p:nvSpPr>
          <p:spPr>
            <a:xfrm>
              <a:off x="9050058" y="5833833"/>
              <a:ext cx="2782277" cy="646331"/>
            </a:xfrm>
            <a:prstGeom prst="rect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dirty="0"/>
                <a:t>Adjusted local and global odometry data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CC5C8A8-E223-4727-BF50-8FADDDB423FC}"/>
                </a:ext>
              </a:extLst>
            </p:cNvPr>
            <p:cNvSpPr txBox="1"/>
            <p:nvPr/>
          </p:nvSpPr>
          <p:spPr>
            <a:xfrm>
              <a:off x="6856430" y="2393910"/>
              <a:ext cx="1039795" cy="307777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First Data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1778EFF-3400-4742-BA4F-97A14D2C09F1}"/>
                </a:ext>
              </a:extLst>
            </p:cNvPr>
            <p:cNvSpPr txBox="1"/>
            <p:nvPr/>
          </p:nvSpPr>
          <p:spPr>
            <a:xfrm>
              <a:off x="4737678" y="5542447"/>
              <a:ext cx="2979237" cy="307777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Adjustment for drift accumulated</a:t>
              </a: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19AFE24A-5550-46A3-A674-2F26C5F19BD8}"/>
              </a:ext>
            </a:extLst>
          </p:cNvPr>
          <p:cNvSpPr txBox="1"/>
          <p:nvPr/>
        </p:nvSpPr>
        <p:spPr>
          <a:xfrm>
            <a:off x="6861632" y="4049839"/>
            <a:ext cx="1039795" cy="30777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New Data</a:t>
            </a:r>
          </a:p>
        </p:txBody>
      </p:sp>
    </p:spTree>
    <p:extLst>
      <p:ext uri="{BB962C8B-B14F-4D97-AF65-F5344CB8AC3E}">
        <p14:creationId xmlns:p14="http://schemas.microsoft.com/office/powerpoint/2010/main" val="10212132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Pre-Process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27F6EF-411F-41B6-BAE3-3368D41070EF}"/>
              </a:ext>
            </a:extLst>
          </p:cNvPr>
          <p:cNvSpPr txBox="1"/>
          <p:nvPr/>
        </p:nvSpPr>
        <p:spPr>
          <a:xfrm>
            <a:off x="495300" y="1110852"/>
            <a:ext cx="1120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/>
              <a:t>State of the art tightly coupled non-linear optimization based SLAM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60BB099-7FF3-43DD-98E2-A2852A8EE074}"/>
              </a:ext>
            </a:extLst>
          </p:cNvPr>
          <p:cNvSpPr txBox="1"/>
          <p:nvPr/>
        </p:nvSpPr>
        <p:spPr>
          <a:xfrm>
            <a:off x="561975" y="1814349"/>
            <a:ext cx="1200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mera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9A45451-7368-4F4D-B387-75FF1D42F1D2}"/>
              </a:ext>
            </a:extLst>
          </p:cNvPr>
          <p:cNvSpPr txBox="1"/>
          <p:nvPr/>
        </p:nvSpPr>
        <p:spPr>
          <a:xfrm>
            <a:off x="495300" y="2695795"/>
            <a:ext cx="1333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MU data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0F3D9245-2159-443A-A8E2-03F73312A438}"/>
              </a:ext>
            </a:extLst>
          </p:cNvPr>
          <p:cNvCxnSpPr>
            <a:cxnSpLocks/>
            <a:stCxn id="42" idx="3"/>
            <a:endCxn id="49" idx="1"/>
          </p:cNvCxnSpPr>
          <p:nvPr/>
        </p:nvCxnSpPr>
        <p:spPr>
          <a:xfrm>
            <a:off x="1762125" y="1999015"/>
            <a:ext cx="2933061" cy="2201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5A4093C7-B03C-41F2-95B6-E1A6E0CA7C76}"/>
              </a:ext>
            </a:extLst>
          </p:cNvPr>
          <p:cNvCxnSpPr>
            <a:cxnSpLocks/>
            <a:stCxn id="45" idx="3"/>
            <a:endCxn id="50" idx="1"/>
          </p:cNvCxnSpPr>
          <p:nvPr/>
        </p:nvCxnSpPr>
        <p:spPr>
          <a:xfrm>
            <a:off x="1828800" y="2880461"/>
            <a:ext cx="2767961" cy="2201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EFF2329-0D0F-47B7-900F-BE4F18C798DB}"/>
              </a:ext>
            </a:extLst>
          </p:cNvPr>
          <p:cNvGrpSpPr/>
          <p:nvPr/>
        </p:nvGrpSpPr>
        <p:grpSpPr>
          <a:xfrm>
            <a:off x="4412612" y="1502182"/>
            <a:ext cx="2753360" cy="1866897"/>
            <a:chOff x="6219825" y="1447800"/>
            <a:chExt cx="2753360" cy="1866897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0239F23-3D1E-4347-A2F5-7B2488A2460B}"/>
                </a:ext>
              </a:extLst>
            </p:cNvPr>
            <p:cNvSpPr txBox="1"/>
            <p:nvPr/>
          </p:nvSpPr>
          <p:spPr>
            <a:xfrm>
              <a:off x="6502399" y="1643481"/>
              <a:ext cx="2174875" cy="646331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Feature detection and Tracking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A14C5DC-491B-40C2-853D-9F505CD699D8}"/>
                </a:ext>
              </a:extLst>
            </p:cNvPr>
            <p:cNvSpPr txBox="1"/>
            <p:nvPr/>
          </p:nvSpPr>
          <p:spPr>
            <a:xfrm>
              <a:off x="6403974" y="2663427"/>
              <a:ext cx="2371724" cy="36933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IMU Pre-integration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A9D4D8B-5576-402C-9029-31885BC3E981}"/>
                </a:ext>
              </a:extLst>
            </p:cNvPr>
            <p:cNvSpPr/>
            <p:nvPr/>
          </p:nvSpPr>
          <p:spPr>
            <a:xfrm>
              <a:off x="6219825" y="1447800"/>
              <a:ext cx="2753360" cy="1866897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4476C9CB-9E09-4FD7-9494-4F3BD732A975}"/>
              </a:ext>
            </a:extLst>
          </p:cNvPr>
          <p:cNvCxnSpPr>
            <a:cxnSpLocks/>
            <a:stCxn id="49" idx="3"/>
            <a:endCxn id="55" idx="1"/>
          </p:cNvCxnSpPr>
          <p:nvPr/>
        </p:nvCxnSpPr>
        <p:spPr>
          <a:xfrm flipV="1">
            <a:off x="6870061" y="1762121"/>
            <a:ext cx="2258063" cy="2589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2F9396A0-3CAD-4FA6-846D-132C00579C7F}"/>
              </a:ext>
            </a:extLst>
          </p:cNvPr>
          <p:cNvCxnSpPr>
            <a:cxnSpLocks/>
            <a:stCxn id="49" idx="3"/>
            <a:endCxn id="56" idx="1"/>
          </p:cNvCxnSpPr>
          <p:nvPr/>
        </p:nvCxnSpPr>
        <p:spPr>
          <a:xfrm>
            <a:off x="6870061" y="2021029"/>
            <a:ext cx="2258063" cy="16760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62907C37-68A0-4123-A4A7-C74DC4C3EC88}"/>
              </a:ext>
            </a:extLst>
          </p:cNvPr>
          <p:cNvCxnSpPr>
            <a:cxnSpLocks/>
            <a:stCxn id="50" idx="3"/>
            <a:endCxn id="57" idx="1"/>
          </p:cNvCxnSpPr>
          <p:nvPr/>
        </p:nvCxnSpPr>
        <p:spPr>
          <a:xfrm>
            <a:off x="6968485" y="2902475"/>
            <a:ext cx="2159639" cy="4003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EF9F75A7-B092-46C9-9B02-75519898A77C}"/>
              </a:ext>
            </a:extLst>
          </p:cNvPr>
          <p:cNvSpPr txBox="1"/>
          <p:nvPr/>
        </p:nvSpPr>
        <p:spPr>
          <a:xfrm>
            <a:off x="9128124" y="1577455"/>
            <a:ext cx="2341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Key-point selec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DF25FD2-51FD-4708-9DC0-714D84C41F81}"/>
              </a:ext>
            </a:extLst>
          </p:cNvPr>
          <p:cNvSpPr txBox="1"/>
          <p:nvPr/>
        </p:nvSpPr>
        <p:spPr>
          <a:xfrm>
            <a:off x="9128124" y="2003965"/>
            <a:ext cx="2341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Key-point Track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C723137-1397-4873-BECA-D64E09F134B3}"/>
              </a:ext>
            </a:extLst>
          </p:cNvPr>
          <p:cNvSpPr txBox="1"/>
          <p:nvPr/>
        </p:nvSpPr>
        <p:spPr>
          <a:xfrm>
            <a:off x="9128124" y="2619339"/>
            <a:ext cx="26731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MU bias estimation</a:t>
            </a:r>
          </a:p>
          <a:p>
            <a:r>
              <a:rPr lang="en-US" dirty="0"/>
              <a:t>and parameteriza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A0F550C-C1C5-4CD6-B473-36930D77C3FD}"/>
              </a:ext>
            </a:extLst>
          </p:cNvPr>
          <p:cNvSpPr txBox="1"/>
          <p:nvPr/>
        </p:nvSpPr>
        <p:spPr>
          <a:xfrm>
            <a:off x="513556" y="3531731"/>
            <a:ext cx="1143079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VISION PRE-PROCESSING</a:t>
            </a:r>
            <a:br>
              <a:rPr lang="en-US" b="1" dirty="0"/>
            </a:b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Feature Detection: </a:t>
            </a:r>
            <a:r>
              <a:rPr lang="en-US" dirty="0"/>
              <a:t>BRIEF descriptor (rotational in-variant)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Feature Tracking: </a:t>
            </a:r>
            <a:r>
              <a:rPr lang="en-US" dirty="0"/>
              <a:t>KLT sparse optical flow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Keypoint</a:t>
            </a:r>
            <a:r>
              <a:rPr lang="en-US" b="1" dirty="0"/>
              <a:t> Outlier rejection: </a:t>
            </a:r>
            <a:r>
              <a:rPr lang="en-US" dirty="0"/>
              <a:t>RANSAC + uniform special distance between </a:t>
            </a:r>
            <a:r>
              <a:rPr lang="en-US" dirty="0" err="1"/>
              <a:t>keypoints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Keyframe selection: </a:t>
            </a:r>
            <a:r>
              <a:rPr lang="en-US" dirty="0"/>
              <a:t>average parallax from previous keyframe more than threshold. Any image not a keyframe is thrown and only IMU data kept.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8822562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Pre-Process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27F6EF-411F-41B6-BAE3-3368D41070EF}"/>
              </a:ext>
            </a:extLst>
          </p:cNvPr>
          <p:cNvSpPr txBox="1"/>
          <p:nvPr/>
        </p:nvSpPr>
        <p:spPr>
          <a:xfrm>
            <a:off x="495300" y="1110852"/>
            <a:ext cx="1120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/>
              <a:t>IMU Pre-Integr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40ECA4-87E9-42A3-ABD4-6EA02003EC20}"/>
              </a:ext>
            </a:extLst>
          </p:cNvPr>
          <p:cNvSpPr txBox="1"/>
          <p:nvPr/>
        </p:nvSpPr>
        <p:spPr>
          <a:xfrm>
            <a:off x="275432" y="1546738"/>
            <a:ext cx="37822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IMU PRE-INTEGRATION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y is it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happens in this process</a:t>
            </a:r>
            <a:endParaRPr lang="en-US" b="1" dirty="0"/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129D60B1-AC19-4B1B-99F6-E30F21D402FE}"/>
              </a:ext>
            </a:extLst>
          </p:cNvPr>
          <p:cNvSpPr/>
          <p:nvPr/>
        </p:nvSpPr>
        <p:spPr>
          <a:xfrm>
            <a:off x="4162425" y="1546738"/>
            <a:ext cx="704850" cy="1225037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2429C36-9795-4E26-83F1-16C982FCEC34}"/>
              </a:ext>
            </a:extLst>
          </p:cNvPr>
          <p:cNvSpPr/>
          <p:nvPr/>
        </p:nvSpPr>
        <p:spPr>
          <a:xfrm>
            <a:off x="4972050" y="1918302"/>
            <a:ext cx="3327400" cy="4572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athematical Formulation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156B0D5-82CF-4610-A2E8-C5C8B4C858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0162" y="3105834"/>
            <a:ext cx="3568701" cy="79393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B48F25D-F4B4-407A-8071-44B0A1C036D9}"/>
              </a:ext>
            </a:extLst>
          </p:cNvPr>
          <p:cNvSpPr txBox="1"/>
          <p:nvPr/>
        </p:nvSpPr>
        <p:spPr>
          <a:xfrm>
            <a:off x="275432" y="3105834"/>
            <a:ext cx="35687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ccelerometer and Gyroscopic measurements from IMU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653C956-B450-4DE5-AA7F-F59F1CDB33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0162" y="4385803"/>
            <a:ext cx="5757863" cy="225164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5DB23B03-C6EA-4291-91B2-3DAAFDDA6BE0}"/>
              </a:ext>
            </a:extLst>
          </p:cNvPr>
          <p:cNvSpPr txBox="1"/>
          <p:nvPr/>
        </p:nvSpPr>
        <p:spPr>
          <a:xfrm>
            <a:off x="275432" y="4823818"/>
            <a:ext cx="44545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ranslation vector, Velocity vector and Rotation vector from body frame to world frame</a:t>
            </a:r>
          </a:p>
        </p:txBody>
      </p:sp>
    </p:spTree>
    <p:extLst>
      <p:ext uri="{BB962C8B-B14F-4D97-AF65-F5344CB8AC3E}">
        <p14:creationId xmlns:p14="http://schemas.microsoft.com/office/powerpoint/2010/main" val="13895139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Pre-Process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27F6EF-411F-41B6-BAE3-3368D41070EF}"/>
              </a:ext>
            </a:extLst>
          </p:cNvPr>
          <p:cNvSpPr txBox="1"/>
          <p:nvPr/>
        </p:nvSpPr>
        <p:spPr>
          <a:xfrm>
            <a:off x="495300" y="1110852"/>
            <a:ext cx="1120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/>
              <a:t>IMU Pre-Integration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156B0D5-82CF-4610-A2E8-C5C8B4C858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0162" y="3105834"/>
            <a:ext cx="3568701" cy="79393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B48F25D-F4B4-407A-8071-44B0A1C036D9}"/>
              </a:ext>
            </a:extLst>
          </p:cNvPr>
          <p:cNvSpPr txBox="1"/>
          <p:nvPr/>
        </p:nvSpPr>
        <p:spPr>
          <a:xfrm>
            <a:off x="275432" y="3105834"/>
            <a:ext cx="35687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ccelerometer and Gyroscopic measurements from IMU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653C956-B450-4DE5-AA7F-F59F1CDB33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0162" y="4385803"/>
            <a:ext cx="5757863" cy="225164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5DB23B03-C6EA-4291-91B2-3DAAFDDA6BE0}"/>
              </a:ext>
            </a:extLst>
          </p:cNvPr>
          <p:cNvSpPr txBox="1"/>
          <p:nvPr/>
        </p:nvSpPr>
        <p:spPr>
          <a:xfrm>
            <a:off x="275432" y="4823818"/>
            <a:ext cx="44545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ranslation vector, Velocity vector and Rotation vector from body frame to world fram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3724C50-14CD-4A5F-9B35-6ED9FFF31244}"/>
              </a:ext>
            </a:extLst>
          </p:cNvPr>
          <p:cNvSpPr/>
          <p:nvPr/>
        </p:nvSpPr>
        <p:spPr>
          <a:xfrm>
            <a:off x="355598" y="1524134"/>
            <a:ext cx="11617729" cy="1095668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BE5EBD4-C031-4BA5-B1BE-2EBC07F30E87}"/>
                  </a:ext>
                </a:extLst>
              </p:cNvPr>
              <p:cNvSpPr txBox="1"/>
              <p:nvPr/>
            </p:nvSpPr>
            <p:spPr>
              <a:xfrm>
                <a:off x="495300" y="1556645"/>
                <a:ext cx="1120140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>
                    <a:solidFill>
                      <a:schemeClr val="tx1"/>
                    </a:solidFill>
                  </a:rPr>
                  <a:t>Why pre-integration?</a:t>
                </a:r>
              </a:p>
              <a:p>
                <a:r>
                  <a:rPr lang="en-US" b="1" dirty="0">
                    <a:solidFill>
                      <a:schemeClr val="tx1"/>
                    </a:solidFill>
                  </a:rPr>
                  <a:t>NOTE: </a:t>
                </a:r>
                <a:r>
                  <a:rPr lang="en-US" dirty="0">
                    <a:solidFill>
                      <a:schemeClr val="tx1"/>
                    </a:solidFill>
                  </a:rPr>
                  <a:t>All these vectors use reference from previous measurem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𝐾</m:t>
                        </m:r>
                      </m:sub>
                    </m:sSub>
                  </m:oMath>
                </a14:m>
                <a:r>
                  <a:rPr lang="en-US" b="1" dirty="0">
                    <a:solidFill>
                      <a:schemeClr val="tx1"/>
                    </a:solidFill>
                  </a:rPr>
                  <a:t> </a:t>
                </a:r>
                <a:r>
                  <a:rPr lang="en-US" dirty="0">
                    <a:solidFill>
                      <a:schemeClr val="tx1"/>
                    </a:solidFill>
                  </a:rPr>
                  <a:t>so if we find that an old estimation was slightly wrong, we need to re-</a:t>
                </a:r>
                <a:r>
                  <a:rPr lang="en-US" dirty="0" err="1">
                    <a:solidFill>
                      <a:schemeClr val="tx1"/>
                    </a:solidFill>
                  </a:rPr>
                  <a:t>propogate</a:t>
                </a:r>
                <a:r>
                  <a:rPr lang="en-US" dirty="0">
                    <a:solidFill>
                      <a:schemeClr val="tx1"/>
                    </a:solidFill>
                  </a:rPr>
                  <a:t> back to all those steps if same formulae are used.</a:t>
                </a:r>
                <a:endParaRPr lang="en-US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BE5EBD4-C031-4BA5-B1BE-2EBC07F30E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300" y="1556645"/>
                <a:ext cx="11201400" cy="923330"/>
              </a:xfrm>
              <a:prstGeom prst="rect">
                <a:avLst/>
              </a:prstGeom>
              <a:blipFill>
                <a:blip r:embed="rId8"/>
                <a:stretch>
                  <a:fillRect l="-435" t="-3289" b="-92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92303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Pre-Process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27F6EF-411F-41B6-BAE3-3368D41070EF}"/>
              </a:ext>
            </a:extLst>
          </p:cNvPr>
          <p:cNvSpPr txBox="1"/>
          <p:nvPr/>
        </p:nvSpPr>
        <p:spPr>
          <a:xfrm>
            <a:off x="495300" y="1110852"/>
            <a:ext cx="1120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/>
              <a:t>IMU Pre-Integr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95A268-40C1-4A23-A72E-DF574F9D7EF5}"/>
              </a:ext>
            </a:extLst>
          </p:cNvPr>
          <p:cNvSpPr txBox="1"/>
          <p:nvPr/>
        </p:nvSpPr>
        <p:spPr>
          <a:xfrm>
            <a:off x="504825" y="1647538"/>
            <a:ext cx="41231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New vector estimates which do not directly use previous measurements</a:t>
            </a:r>
          </a:p>
          <a:p>
            <a:r>
              <a:rPr lang="en-US" dirty="0"/>
              <a:t>Changing from world to body frame: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2A21324-7178-476E-8F64-383280E4C9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6431" y="1547835"/>
            <a:ext cx="5591175" cy="136038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B1883F0-095E-4EFE-AA55-86BC8376F579}"/>
              </a:ext>
            </a:extLst>
          </p:cNvPr>
          <p:cNvSpPr txBox="1"/>
          <p:nvPr/>
        </p:nvSpPr>
        <p:spPr>
          <a:xfrm>
            <a:off x="504825" y="3844717"/>
            <a:ext cx="41231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Here, </a:t>
            </a:r>
            <a:r>
              <a:rPr lang="el-GR" b="1" dirty="0"/>
              <a:t> α</a:t>
            </a:r>
            <a:r>
              <a:rPr lang="en-US" b="1" dirty="0"/>
              <a:t> (alpha), </a:t>
            </a:r>
            <a:r>
              <a:rPr lang="el-GR" b="1" dirty="0"/>
              <a:t>β</a:t>
            </a:r>
            <a:r>
              <a:rPr lang="en-US" b="1" dirty="0"/>
              <a:t> (beta), </a:t>
            </a:r>
            <a:r>
              <a:rPr lang="el-GR" b="1" dirty="0"/>
              <a:t>γ</a:t>
            </a:r>
            <a:r>
              <a:rPr lang="en-US" b="1" dirty="0"/>
              <a:t> (gamma) only depend on bias and not on any previous stat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6EAD337-7E03-4459-9959-1114BA4323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26431" y="3362085"/>
            <a:ext cx="5688013" cy="233643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AEEA2AD-6B90-484D-963E-38285E3B9C0A}"/>
              </a:ext>
            </a:extLst>
          </p:cNvPr>
          <p:cNvSpPr txBox="1"/>
          <p:nvPr/>
        </p:nvSpPr>
        <p:spPr>
          <a:xfrm>
            <a:off x="3176" y="5987648"/>
            <a:ext cx="12188824" cy="369332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o we need not to re-</a:t>
            </a:r>
            <a:r>
              <a:rPr lang="en-US" b="1" dirty="0" err="1">
                <a:solidFill>
                  <a:schemeClr val="bg1"/>
                </a:solidFill>
              </a:rPr>
              <a:t>propogate</a:t>
            </a:r>
            <a:r>
              <a:rPr lang="en-US" b="1" dirty="0">
                <a:solidFill>
                  <a:schemeClr val="bg1"/>
                </a:solidFill>
              </a:rPr>
              <a:t> whenever our bias estimate “b” changes</a:t>
            </a:r>
          </a:p>
        </p:txBody>
      </p:sp>
    </p:spTree>
    <p:extLst>
      <p:ext uri="{BB962C8B-B14F-4D97-AF65-F5344CB8AC3E}">
        <p14:creationId xmlns:p14="http://schemas.microsoft.com/office/powerpoint/2010/main" val="1264713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725193-16BF-426E-9971-AA09BD4A9E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725193-16BF-426E-9971-AA09BD4A9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E0F280-FA4F-4686-B1AD-1B122155E8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s presentation will cover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09F3BB80-C773-47A0-96A6-22881D4B0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 dirty="0"/>
              <a:t>VIO Techniques</a:t>
            </a:r>
          </a:p>
          <a:p>
            <a:pPr lvl="1"/>
            <a:r>
              <a:rPr lang="en-US" dirty="0"/>
              <a:t>Standard modules</a:t>
            </a:r>
          </a:p>
          <a:p>
            <a:pPr lvl="1"/>
            <a:r>
              <a:rPr lang="en-US" dirty="0"/>
              <a:t>Working of these modules</a:t>
            </a:r>
          </a:p>
          <a:p>
            <a:pPr lvl="1"/>
            <a:r>
              <a:rPr lang="en-US" dirty="0"/>
              <a:t>Filtering based VIO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029" y="3657600"/>
            <a:ext cx="2459881" cy="2011680"/>
          </a:xfrm>
        </p:spPr>
        <p:txBody>
          <a:bodyPr/>
          <a:lstStyle/>
          <a:p>
            <a:r>
              <a:rPr lang="en-US" dirty="0"/>
              <a:t>VINS-Mono</a:t>
            </a:r>
          </a:p>
          <a:p>
            <a:pPr lvl="1"/>
            <a:r>
              <a:rPr lang="en-US" dirty="0"/>
              <a:t>Addressing problems</a:t>
            </a:r>
          </a:p>
          <a:p>
            <a:pPr lvl="1"/>
            <a:r>
              <a:rPr lang="en-US" dirty="0"/>
              <a:t>Overview of steps</a:t>
            </a:r>
          </a:p>
          <a:p>
            <a:pPr lvl="1"/>
            <a:r>
              <a:rPr lang="en-US" dirty="0"/>
              <a:t>Working and formula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C11F36-6018-43DD-B348-F830FC718CC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en-US" dirty="0"/>
              <a:t>Temporal </a:t>
            </a:r>
            <a:r>
              <a:rPr lang="en-US" dirty="0" err="1"/>
              <a:t>caliberation</a:t>
            </a:r>
            <a:endParaRPr lang="en-US" dirty="0"/>
          </a:p>
          <a:p>
            <a:pPr lvl="1"/>
            <a:r>
              <a:rPr lang="en-US" dirty="0"/>
              <a:t>Why and how?.</a:t>
            </a:r>
          </a:p>
          <a:p>
            <a:pPr lvl="1"/>
            <a:r>
              <a:rPr lang="en-US" dirty="0"/>
              <a:t>Explaining VINS in application</a:t>
            </a:r>
          </a:p>
        </p:txBody>
      </p:sp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9BB8A212-6AE0-44B0-BC2E-9BB516734FBA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171AAF3-06E5-43B9-8597-1B16EA3D264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To present the general picture of SLAM algorithms and their working in detai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verview of SLAM</a:t>
            </a:r>
          </a:p>
          <a:p>
            <a:pPr lvl="1"/>
            <a:r>
              <a:rPr lang="en-US" dirty="0"/>
              <a:t>Principle, Need</a:t>
            </a:r>
          </a:p>
          <a:p>
            <a:pPr lvl="1"/>
            <a:r>
              <a:rPr lang="en-US" dirty="0"/>
              <a:t>Setup, VIO</a:t>
            </a:r>
          </a:p>
        </p:txBody>
      </p:sp>
      <p:pic>
        <p:nvPicPr>
          <p:cNvPr id="21" name="Picture 2" descr="VINS-Mono: A Robust and Versatile Monocular Visual-Inertial State ...">
            <a:extLst>
              <a:ext uri="{FF2B5EF4-FFF2-40B4-BE49-F238E27FC236}">
                <a16:creationId xmlns:a16="http://schemas.microsoft.com/office/drawing/2014/main" id="{082B6560-E3B0-439C-93D7-994E511CF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8522" y="1788140"/>
            <a:ext cx="3048000" cy="1602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756" name="Picture 4" descr="Figure 3 from Efficient visual odometry and mapping for Unmanned ...">
            <a:extLst>
              <a:ext uri="{FF2B5EF4-FFF2-40B4-BE49-F238E27FC236}">
                <a16:creationId xmlns:a16="http://schemas.microsoft.com/office/drawing/2014/main" id="{7FE2A274-7B64-4C31-9B8B-9562160283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63887" y="1409700"/>
            <a:ext cx="2804045" cy="212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OctoMap - 3D occupancy mapping">
            <a:extLst>
              <a:ext uri="{FF2B5EF4-FFF2-40B4-BE49-F238E27FC236}">
                <a16:creationId xmlns:a16="http://schemas.microsoft.com/office/drawing/2014/main" id="{2BFCAC54-8ACF-473C-AADC-17553D01AB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8750" y="1404445"/>
            <a:ext cx="3181827" cy="2114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47992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114182-7763-4201-AE69-E7F4CF692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9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989A04-2005-455B-8118-F00C9774F8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" y="6115556"/>
            <a:ext cx="12192000" cy="352423"/>
          </a:xfrm>
        </p:spPr>
        <p:txBody>
          <a:bodyPr/>
          <a:lstStyle/>
          <a:p>
            <a:r>
              <a:rPr lang="en-US" sz="1800" dirty="0"/>
              <a:t>Finally, position, velocity are scaled and provided to core-VIO algorithm for successive up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9CBE9C7-C8EA-4F61-B136-EEE584996E7C}"/>
              </a:ext>
            </a:extLst>
          </p:cNvPr>
          <p:cNvSpPr/>
          <p:nvPr/>
        </p:nvSpPr>
        <p:spPr>
          <a:xfrm>
            <a:off x="495299" y="1409700"/>
            <a:ext cx="3107437" cy="8031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Structure from Motion (</a:t>
            </a:r>
            <a:r>
              <a:rPr lang="en-US" sz="2000" b="1" dirty="0" err="1">
                <a:solidFill>
                  <a:schemeClr val="bg1"/>
                </a:solidFill>
                <a:latin typeface="+mj-lt"/>
              </a:rPr>
              <a:t>SfM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C169B43-1725-43B8-875D-0E31022405A8}"/>
                  </a:ext>
                </a:extLst>
              </p:cNvPr>
              <p:cNvSpPr/>
              <p:nvPr/>
            </p:nvSpPr>
            <p:spPr>
              <a:xfrm>
                <a:off x="495299" y="2212848"/>
                <a:ext cx="3107437" cy="3451352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spcAft>
                    <a:spcPts val="600"/>
                  </a:spcAft>
                </a:pPr>
                <a:r>
                  <a:rPr lang="en-US" sz="2000" b="1" dirty="0">
                    <a:solidFill>
                      <a:prstClr val="black"/>
                    </a:solidFill>
                  </a:rPr>
                  <a:t>Visual-only SLAM</a:t>
                </a:r>
              </a:p>
              <a:p>
                <a:pPr marL="230188" lvl="1" indent="-230188">
                  <a:spcAft>
                    <a:spcPts val="600"/>
                  </a:spcAft>
                  <a:buClr>
                    <a:srgbClr val="DC202E"/>
                  </a:buClr>
                  <a:buFont typeface="Arial" panose="020B0604020202020204" pitchFamily="34" charset="0"/>
                  <a:buChar char="•"/>
                </a:pPr>
                <a:r>
                  <a:rPr lang="en-US" sz="2000" dirty="0">
                    <a:solidFill>
                      <a:prstClr val="black"/>
                    </a:solidFill>
                  </a:rPr>
                  <a:t>Gives </a:t>
                </a:r>
                <a:r>
                  <a:rPr lang="en-US" sz="2000" dirty="0" err="1">
                    <a:solidFill>
                      <a:prstClr val="black"/>
                    </a:solidFill>
                  </a:rPr>
                  <a:t>upto</a:t>
                </a:r>
                <a:r>
                  <a:rPr lang="en-US" sz="2000" dirty="0">
                    <a:solidFill>
                      <a:prstClr val="black"/>
                    </a:solidFill>
                  </a:rPr>
                  <a:t> scale estimates using </a:t>
                </a:r>
                <a:r>
                  <a:rPr lang="en-US" sz="2000" b="1" dirty="0">
                    <a:solidFill>
                      <a:prstClr val="black"/>
                    </a:solidFill>
                  </a:rPr>
                  <a:t>5-point algorithm </a:t>
                </a:r>
                <a:r>
                  <a:rPr lang="en-US" sz="2000" dirty="0">
                    <a:solidFill>
                      <a:prstClr val="black"/>
                    </a:solidFill>
                  </a:rPr>
                  <a:t>in first camera frame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2000" dirty="0">
                    <a:solidFill>
                      <a:prstClr val="black"/>
                    </a:solidFill>
                  </a:rPr>
                  <a:t>)</a:t>
                </a:r>
              </a:p>
              <a:p>
                <a:pPr marL="230188" lvl="1" indent="-230188">
                  <a:spcAft>
                    <a:spcPts val="600"/>
                  </a:spcAft>
                  <a:buClr>
                    <a:srgbClr val="DC202E"/>
                  </a:buClr>
                  <a:buFont typeface="Arial" panose="020B0604020202020204" pitchFamily="34" charset="0"/>
                  <a:buChar char="•"/>
                </a:pPr>
                <a:r>
                  <a:rPr lang="en-US" sz="2000" dirty="0">
                    <a:solidFill>
                      <a:prstClr val="black"/>
                    </a:solidFill>
                  </a:rPr>
                  <a:t>It gives line (in 3D space) on which a feature would lie. Only thing it requires now is scale.</a:t>
                </a:r>
                <a:endParaRPr lang="en-US" dirty="0">
                  <a:solidFill>
                    <a:prstClr val="black"/>
                  </a:solidFill>
                </a:endParaRPr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C169B43-1725-43B8-875D-0E31022405A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299" y="2212848"/>
                <a:ext cx="3107437" cy="3451352"/>
              </a:xfrm>
              <a:prstGeom prst="rect">
                <a:avLst/>
              </a:prstGeom>
              <a:blipFill>
                <a:blip r:embed="rId7"/>
                <a:stretch>
                  <a:fillRect l="-1961" r="-392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8F08A5B-486A-4CA0-B198-61F30E54226C}"/>
              </a:ext>
            </a:extLst>
          </p:cNvPr>
          <p:cNvSpPr/>
          <p:nvPr/>
        </p:nvSpPr>
        <p:spPr>
          <a:xfrm>
            <a:off x="4654776" y="1425827"/>
            <a:ext cx="3107437" cy="77483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Visual-Inertial Align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D1632C-F8D2-48DC-A353-E212F21AA225}"/>
              </a:ext>
            </a:extLst>
          </p:cNvPr>
          <p:cNvSpPr/>
          <p:nvPr/>
        </p:nvSpPr>
        <p:spPr>
          <a:xfrm>
            <a:off x="4654775" y="2212848"/>
            <a:ext cx="3107437" cy="345135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Using visual data for bias correction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Optimizes rotational error between 2 consecutive frames to give gyroscopic bias estimation (gives gamma)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Alpha, beta are written in terms of sca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458FB8-AF2D-447C-8CBA-11D1EE5E9058}"/>
              </a:ext>
            </a:extLst>
          </p:cNvPr>
          <p:cNvSpPr/>
          <p:nvPr/>
        </p:nvSpPr>
        <p:spPr>
          <a:xfrm>
            <a:off x="8814254" y="1409700"/>
            <a:ext cx="3107437" cy="8031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Final optimizing step for scale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0B8571-ACCB-49CE-892B-FD8CE1E91FEA}"/>
              </a:ext>
            </a:extLst>
          </p:cNvPr>
          <p:cNvSpPr/>
          <p:nvPr/>
        </p:nvSpPr>
        <p:spPr>
          <a:xfrm>
            <a:off x="8814255" y="2200662"/>
            <a:ext cx="3107437" cy="35184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Optimizing for scale to minimize error in measurement 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We have gamma and alpha, beta are written in terms of scale. Now the error between current and previous state (in terms of scale) is minimized to give us scale measurement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52640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INITIALIZATION</a:t>
            </a:r>
            <a:br>
              <a:rPr lang="en-US" b="1" dirty="0"/>
            </a:br>
            <a:r>
              <a:rPr lang="en-US" sz="1800" b="1" dirty="0"/>
              <a:t>i</a:t>
            </a:r>
            <a:r>
              <a:rPr lang="en-US" sz="1800" b="1" dirty="0">
                <a:latin typeface="+mn-lt"/>
              </a:rPr>
              <a:t>nitial estimate of position, orientation, velocity, scale, bias</a:t>
            </a:r>
            <a:endParaRPr lang="en-US" b="1" dirty="0">
              <a:latin typeface="+mn-lt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5B504178-3AA5-4C05-927C-35A15478FE4E}"/>
              </a:ext>
            </a:extLst>
          </p:cNvPr>
          <p:cNvSpPr/>
          <p:nvPr/>
        </p:nvSpPr>
        <p:spPr>
          <a:xfrm>
            <a:off x="3675888" y="1609344"/>
            <a:ext cx="924023" cy="352423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0B5D923-31BC-4340-B375-6260822AC4E0}"/>
              </a:ext>
            </a:extLst>
          </p:cNvPr>
          <p:cNvSpPr/>
          <p:nvPr/>
        </p:nvSpPr>
        <p:spPr>
          <a:xfrm>
            <a:off x="7833360" y="1597152"/>
            <a:ext cx="924023" cy="352423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979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INITIALIZATION</a:t>
            </a:r>
            <a:br>
              <a:rPr lang="en-US" b="1" dirty="0"/>
            </a:br>
            <a:r>
              <a:rPr lang="en-US" sz="1800" b="1" dirty="0"/>
              <a:t>i</a:t>
            </a:r>
            <a:r>
              <a:rPr lang="en-US" sz="1800" b="1" dirty="0">
                <a:latin typeface="+mn-lt"/>
              </a:rPr>
              <a:t>nitial estimate of position, orientation, velocity, scale, bias</a:t>
            </a:r>
            <a:endParaRPr lang="en-US" b="1" dirty="0">
              <a:latin typeface="+mn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57599D97-7558-4008-8816-445FEFDB4386}"/>
                  </a:ext>
                </a:extLst>
              </p:cNvPr>
              <p:cNvSpPr txBox="1"/>
              <p:nvPr/>
            </p:nvSpPr>
            <p:spPr>
              <a:xfrm>
                <a:off x="957260" y="2849777"/>
                <a:ext cx="438150" cy="3820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𝑏𝐾</m:t>
                          </m:r>
                        </m:sub>
                        <m: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bSup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57599D97-7558-4008-8816-445FEFDB43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7260" y="2849777"/>
                <a:ext cx="438150" cy="382028"/>
              </a:xfrm>
              <a:prstGeom prst="rect">
                <a:avLst/>
              </a:prstGeom>
              <a:blipFill>
                <a:blip r:embed="rId7"/>
                <a:stretch>
                  <a:fillRect r="-12500" b="-793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8F184F82-520A-49E9-991B-9FC537A39204}"/>
                  </a:ext>
                </a:extLst>
              </p:cNvPr>
              <p:cNvSpPr txBox="1"/>
              <p:nvPr/>
            </p:nvSpPr>
            <p:spPr>
              <a:xfrm>
                <a:off x="2309810" y="2859302"/>
                <a:ext cx="438150" cy="3820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𝑏𝐾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bSup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8F184F82-520A-49E9-991B-9FC537A3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9810" y="2859302"/>
                <a:ext cx="438150" cy="382028"/>
              </a:xfrm>
              <a:prstGeom prst="rect">
                <a:avLst/>
              </a:prstGeom>
              <a:blipFill>
                <a:blip r:embed="rId8"/>
                <a:stretch>
                  <a:fillRect r="-62500" b="-793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7" name="TextBox 76">
            <a:extLst>
              <a:ext uri="{FF2B5EF4-FFF2-40B4-BE49-F238E27FC236}">
                <a16:creationId xmlns:a16="http://schemas.microsoft.com/office/drawing/2014/main" id="{BD545217-0B4E-41DB-B553-B2E491A45B97}"/>
              </a:ext>
            </a:extLst>
          </p:cNvPr>
          <p:cNvSpPr txBox="1"/>
          <p:nvPr/>
        </p:nvSpPr>
        <p:spPr>
          <a:xfrm>
            <a:off x="1338260" y="3414856"/>
            <a:ext cx="1247773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From </a:t>
            </a:r>
            <a:r>
              <a:rPr lang="en-US" b="1" dirty="0" err="1">
                <a:solidFill>
                  <a:schemeClr val="bg1"/>
                </a:solidFill>
              </a:rPr>
              <a:t>SfM</a:t>
            </a:r>
            <a:endParaRPr lang="en-US" b="1" dirty="0">
              <a:solidFill>
                <a:schemeClr val="bg1"/>
              </a:solidFill>
            </a:endParaRPr>
          </a:p>
        </p:txBody>
      </p:sp>
      <p:cxnSp>
        <p:nvCxnSpPr>
          <p:cNvPr id="78" name="Connector: Elbow 77">
            <a:extLst>
              <a:ext uri="{FF2B5EF4-FFF2-40B4-BE49-F238E27FC236}">
                <a16:creationId xmlns:a16="http://schemas.microsoft.com/office/drawing/2014/main" id="{872E10B5-BFC3-44FD-B2BD-D72798BBC14F}"/>
              </a:ext>
            </a:extLst>
          </p:cNvPr>
          <p:cNvCxnSpPr>
            <a:cxnSpLocks/>
            <a:stCxn id="77" idx="3"/>
          </p:cNvCxnSpPr>
          <p:nvPr/>
        </p:nvCxnSpPr>
        <p:spPr>
          <a:xfrm flipV="1">
            <a:off x="2586033" y="3312038"/>
            <a:ext cx="161927" cy="287484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DC392C95-47C3-4EB7-9AAA-124E9BC181D8}"/>
              </a:ext>
            </a:extLst>
          </p:cNvPr>
          <p:cNvCxnSpPr>
            <a:cxnSpLocks/>
            <a:stCxn id="77" idx="1"/>
          </p:cNvCxnSpPr>
          <p:nvPr/>
        </p:nvCxnSpPr>
        <p:spPr>
          <a:xfrm rot="10800000">
            <a:off x="1033460" y="3294364"/>
            <a:ext cx="304800" cy="305159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Picture 79">
            <a:extLst>
              <a:ext uri="{FF2B5EF4-FFF2-40B4-BE49-F238E27FC236}">
                <a16:creationId xmlns:a16="http://schemas.microsoft.com/office/drawing/2014/main" id="{6DF5DEFE-9AB3-4C0B-8C19-D4398EEB572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298" y="4452119"/>
            <a:ext cx="2076448" cy="832994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B6A0707-FAC2-4C07-8515-837640CDECA1}"/>
              </a:ext>
            </a:extLst>
          </p:cNvPr>
          <p:cNvSpPr txBox="1"/>
          <p:nvPr/>
        </p:nvSpPr>
        <p:spPr>
          <a:xfrm>
            <a:off x="495298" y="3807323"/>
            <a:ext cx="40671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quation governing translation and rotation in camera frame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B7C18EF9-C1A7-4493-9A94-4F95EAAAAC0E}"/>
              </a:ext>
            </a:extLst>
          </p:cNvPr>
          <p:cNvCxnSpPr/>
          <p:nvPr/>
        </p:nvCxnSpPr>
        <p:spPr>
          <a:xfrm>
            <a:off x="653200" y="5283712"/>
            <a:ext cx="0" cy="42862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E7AC71BC-563C-4123-825D-85F479990E7D}"/>
              </a:ext>
            </a:extLst>
          </p:cNvPr>
          <p:cNvCxnSpPr/>
          <p:nvPr/>
        </p:nvCxnSpPr>
        <p:spPr>
          <a:xfrm>
            <a:off x="1988220" y="5263720"/>
            <a:ext cx="0" cy="39052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85736C82-7CCB-4A50-A747-D9430BCFF627}"/>
              </a:ext>
            </a:extLst>
          </p:cNvPr>
          <p:cNvSpPr txBox="1"/>
          <p:nvPr/>
        </p:nvSpPr>
        <p:spPr>
          <a:xfrm>
            <a:off x="495298" y="5401875"/>
            <a:ext cx="5367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lpha/Beta in terms of scale and IMU readings</a:t>
            </a:r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F35BFBD3-E747-43F3-82DD-26ED23795FB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6755" b="2024"/>
          <a:stretch/>
        </p:blipFill>
        <p:spPr>
          <a:xfrm>
            <a:off x="7542343" y="1504874"/>
            <a:ext cx="4233190" cy="151953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D49394CC-EE0E-4D64-877E-E5E6D4B76F0D}"/>
              </a:ext>
            </a:extLst>
          </p:cNvPr>
          <p:cNvSpPr txBox="1"/>
          <p:nvPr/>
        </p:nvSpPr>
        <p:spPr>
          <a:xfrm>
            <a:off x="3633948" y="1601072"/>
            <a:ext cx="36480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rror optimization cost for bias estimation 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19C42349-C451-4829-AB23-0B904C8D6FDA}"/>
              </a:ext>
            </a:extLst>
          </p:cNvPr>
          <p:cNvSpPr txBox="1"/>
          <p:nvPr/>
        </p:nvSpPr>
        <p:spPr>
          <a:xfrm>
            <a:off x="3659970" y="2259722"/>
            <a:ext cx="3048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From IMU pre-integration</a:t>
            </a: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A78A6529-8D18-4B14-8270-9B45768A5488}"/>
              </a:ext>
            </a:extLst>
          </p:cNvPr>
          <p:cNvCxnSpPr>
            <a:cxnSpLocks/>
          </p:cNvCxnSpPr>
          <p:nvPr/>
        </p:nvCxnSpPr>
        <p:spPr>
          <a:xfrm flipV="1">
            <a:off x="6434135" y="3129106"/>
            <a:ext cx="0" cy="27866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ight Brace 88">
            <a:extLst>
              <a:ext uri="{FF2B5EF4-FFF2-40B4-BE49-F238E27FC236}">
                <a16:creationId xmlns:a16="http://schemas.microsoft.com/office/drawing/2014/main" id="{69037BBE-3F6B-4172-A62E-12F70ED6DDD6}"/>
              </a:ext>
            </a:extLst>
          </p:cNvPr>
          <p:cNvSpPr/>
          <p:nvPr/>
        </p:nvSpPr>
        <p:spPr>
          <a:xfrm>
            <a:off x="2702586" y="4700586"/>
            <a:ext cx="309499" cy="639638"/>
          </a:xfrm>
          <a:prstGeom prst="righ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C59840A9-B621-4438-AD32-4CC01F66D945}"/>
              </a:ext>
            </a:extLst>
          </p:cNvPr>
          <p:cNvSpPr/>
          <p:nvPr/>
        </p:nvSpPr>
        <p:spPr>
          <a:xfrm>
            <a:off x="7463856" y="3130515"/>
            <a:ext cx="4337897" cy="76137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35EE7FD-23FE-4CC8-A086-B946E0FE7896}"/>
              </a:ext>
            </a:extLst>
          </p:cNvPr>
          <p:cNvSpPr txBox="1"/>
          <p:nvPr/>
        </p:nvSpPr>
        <p:spPr>
          <a:xfrm>
            <a:off x="7542343" y="3142139"/>
            <a:ext cx="425941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Now we have good estimate of gamma and alpha, beta are written in terms of scale. The reading (z) at any given frame can be written as</a:t>
            </a:r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3C490925-0D7B-4291-A9C9-3C993F6018D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5298" y="5726140"/>
            <a:ext cx="5524497" cy="926303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5E3855D7-65FE-4663-A96A-A3715F85176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97340" y="3264392"/>
            <a:ext cx="3074073" cy="426955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BABF1838-6BDD-4F60-9BFB-65B4D87D5B7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088059" y="3930251"/>
            <a:ext cx="4945735" cy="1876730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A16082F4-3199-4551-B8A6-6FD95BBD0F6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352825" y="5856429"/>
            <a:ext cx="2680969" cy="68254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cxnSp>
        <p:nvCxnSpPr>
          <p:cNvPr id="96" name="Connector: Elbow 95">
            <a:extLst>
              <a:ext uri="{FF2B5EF4-FFF2-40B4-BE49-F238E27FC236}">
                <a16:creationId xmlns:a16="http://schemas.microsoft.com/office/drawing/2014/main" id="{9E11C658-2017-46F7-B37F-716E97D89B71}"/>
              </a:ext>
            </a:extLst>
          </p:cNvPr>
          <p:cNvCxnSpPr>
            <a:cxnSpLocks/>
            <a:endCxn id="87" idx="2"/>
          </p:cNvCxnSpPr>
          <p:nvPr/>
        </p:nvCxnSpPr>
        <p:spPr>
          <a:xfrm flipV="1">
            <a:off x="3195635" y="2629054"/>
            <a:ext cx="1988335" cy="416284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4D62E69F-4CA9-4D30-A005-AA0703F5F8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86" y="1356187"/>
            <a:ext cx="985835" cy="147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E1697112-CA2A-40E6-99F3-414A1883D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08199">
            <a:off x="2089609" y="1250376"/>
            <a:ext cx="985835" cy="147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9F500F6B-CFAF-4902-8C79-5145BFD17048}"/>
              </a:ext>
            </a:extLst>
          </p:cNvPr>
          <p:cNvSpPr txBox="1"/>
          <p:nvPr/>
        </p:nvSpPr>
        <p:spPr>
          <a:xfrm>
            <a:off x="7542343" y="1276769"/>
            <a:ext cx="1418319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</a:rPr>
              <a:t>OPTIMIZATION 1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DFAD95F1-965A-4074-8A87-447B674F4A1C}"/>
              </a:ext>
            </a:extLst>
          </p:cNvPr>
          <p:cNvSpPr txBox="1"/>
          <p:nvPr/>
        </p:nvSpPr>
        <p:spPr>
          <a:xfrm>
            <a:off x="7934506" y="6089977"/>
            <a:ext cx="1418319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</a:rPr>
              <a:t>OPTIMIZATION 2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1D14DCFD-2905-479D-8E33-C326EC186215}"/>
              </a:ext>
            </a:extLst>
          </p:cNvPr>
          <p:cNvSpPr txBox="1"/>
          <p:nvPr/>
        </p:nvSpPr>
        <p:spPr>
          <a:xfrm>
            <a:off x="9028837" y="1276769"/>
            <a:ext cx="12294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/>
              <a:t>Gives gamma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6622872B-F498-4BB8-909E-84EA843E1712}"/>
              </a:ext>
            </a:extLst>
          </p:cNvPr>
          <p:cNvSpPr txBox="1"/>
          <p:nvPr/>
        </p:nvSpPr>
        <p:spPr>
          <a:xfrm>
            <a:off x="6610622" y="6081569"/>
            <a:ext cx="12294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/>
              <a:t>Gives Scale</a:t>
            </a:r>
          </a:p>
        </p:txBody>
      </p:sp>
    </p:spTree>
    <p:extLst>
      <p:ext uri="{BB962C8B-B14F-4D97-AF65-F5344CB8AC3E}">
        <p14:creationId xmlns:p14="http://schemas.microsoft.com/office/powerpoint/2010/main" val="6486885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Core VIO Algorithm</a:t>
            </a:r>
            <a:endParaRPr lang="en-US" b="1" dirty="0"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523500-1F01-4D4A-A09A-E68046B049CB}"/>
              </a:ext>
            </a:extLst>
          </p:cNvPr>
          <p:cNvSpPr txBox="1"/>
          <p:nvPr/>
        </p:nvSpPr>
        <p:spPr>
          <a:xfrm>
            <a:off x="495297" y="882796"/>
            <a:ext cx="85335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Using previous state and new visual and IMU data to update the state estimate</a:t>
            </a:r>
          </a:p>
        </p:txBody>
      </p:sp>
      <p:pic>
        <p:nvPicPr>
          <p:cNvPr id="34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0E0B13AA-136F-48B5-A8C5-B52736686D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4255" y="1631032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0359B2C3-5757-4E0D-B561-435B8469A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117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83C65A4C-A015-4A2B-BDFB-45CFE01D9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367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31D13C7D-68DA-44B4-B1E4-5A6F5380D1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1717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FDF37433-52AD-43E3-BDF5-FB61743733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8542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12347F15-3285-4248-A5A7-1FE8446BD8A9}"/>
              </a:ext>
            </a:extLst>
          </p:cNvPr>
          <p:cNvSpPr/>
          <p:nvPr/>
        </p:nvSpPr>
        <p:spPr>
          <a:xfrm>
            <a:off x="6670279" y="1459289"/>
            <a:ext cx="5133974" cy="2049244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B71BEC4-7C4C-4A6C-9A40-20D0A32D252E}"/>
              </a:ext>
            </a:extLst>
          </p:cNvPr>
          <p:cNvSpPr txBox="1"/>
          <p:nvPr/>
        </p:nvSpPr>
        <p:spPr>
          <a:xfrm>
            <a:off x="8576072" y="3508533"/>
            <a:ext cx="1972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liding Window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E3F1AAE-2DE1-4E64-AE15-363A1FE85031}"/>
              </a:ext>
            </a:extLst>
          </p:cNvPr>
          <p:cNvSpPr txBox="1"/>
          <p:nvPr/>
        </p:nvSpPr>
        <p:spPr>
          <a:xfrm>
            <a:off x="3444479" y="3443900"/>
            <a:ext cx="789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iori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CB8F225-1178-4252-88E3-FFE9F1D59725}"/>
              </a:ext>
            </a:extLst>
          </p:cNvPr>
          <p:cNvSpPr txBox="1"/>
          <p:nvPr/>
        </p:nvSpPr>
        <p:spPr>
          <a:xfrm>
            <a:off x="6545898" y="1129938"/>
            <a:ext cx="5471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his module works only on Sliding Window part</a:t>
            </a:r>
          </a:p>
        </p:txBody>
      </p:sp>
      <p:pic>
        <p:nvPicPr>
          <p:cNvPr id="46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81E28134-7A7B-4E6C-A7FF-AA241BACDE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430" y="1650082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9E32A9A7-50E1-4ACB-A268-FBFC61BB5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5205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15A77B17-5CC4-4F66-B7DE-7FCCFC7816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8380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9AEB76D9-7E1F-423F-8097-CD84874E97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130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8EAB33F8-A3E8-4CFC-B3ED-64C93F910E3D}"/>
              </a:ext>
            </a:extLst>
          </p:cNvPr>
          <p:cNvSpPr txBox="1"/>
          <p:nvPr/>
        </p:nvSpPr>
        <p:spPr>
          <a:xfrm>
            <a:off x="377430" y="4077571"/>
            <a:ext cx="1142682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second latest image </a:t>
            </a:r>
            <a:r>
              <a:rPr lang="en-US" b="1" dirty="0"/>
              <a:t>not</a:t>
            </a:r>
            <a:r>
              <a:rPr lang="en-US" dirty="0"/>
              <a:t> a keyframe: its image data is thrown and only IMU kept. No frame marginalized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second latest </a:t>
            </a:r>
            <a:r>
              <a:rPr lang="en-US" b="1" dirty="0"/>
              <a:t>image</a:t>
            </a:r>
            <a:r>
              <a:rPr lang="en-US" dirty="0"/>
              <a:t> is a keyframe: oldest frame in sliding window marginalized (converted to prior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AIM: </a:t>
            </a:r>
            <a:r>
              <a:rPr lang="en-US" dirty="0"/>
              <a:t>Keep latest and spatially separated keyframes in the window</a:t>
            </a:r>
          </a:p>
          <a:p>
            <a:endParaRPr lang="en-US" b="1" dirty="0"/>
          </a:p>
          <a:p>
            <a:pPr algn="ctr"/>
            <a:r>
              <a:rPr lang="en-US" b="1" dirty="0"/>
              <a:t>Failure Detection </a:t>
            </a:r>
            <a:r>
              <a:rPr lang="en-US" dirty="0"/>
              <a:t>and </a:t>
            </a:r>
            <a:r>
              <a:rPr lang="en-US" b="1" dirty="0"/>
              <a:t>Bundle Adjustment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478E053F-F4D9-40A8-9D08-658B96FD58E3}"/>
              </a:ext>
            </a:extLst>
          </p:cNvPr>
          <p:cNvCxnSpPr>
            <a:stCxn id="35" idx="2"/>
            <a:endCxn id="47" idx="2"/>
          </p:cNvCxnSpPr>
          <p:nvPr/>
        </p:nvCxnSpPr>
        <p:spPr>
          <a:xfrm rot="5400000">
            <a:off x="6671867" y="2678091"/>
            <a:ext cx="12700" cy="1331912"/>
          </a:xfrm>
          <a:prstGeom prst="bentConnector3">
            <a:avLst>
              <a:gd name="adj1" fmla="val 3675000"/>
            </a:avLst>
          </a:prstGeom>
          <a:ln w="9525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B68D028-04D2-4D00-9CCF-DDD158F92232}"/>
              </a:ext>
            </a:extLst>
          </p:cNvPr>
          <p:cNvSpPr txBox="1"/>
          <p:nvPr/>
        </p:nvSpPr>
        <p:spPr>
          <a:xfrm>
            <a:off x="6154342" y="3694855"/>
            <a:ext cx="104775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bg1"/>
                </a:solidFill>
              </a:rPr>
              <a:t>marginalized</a:t>
            </a:r>
          </a:p>
        </p:txBody>
      </p:sp>
    </p:spTree>
    <p:extLst>
      <p:ext uri="{BB962C8B-B14F-4D97-AF65-F5344CB8AC3E}">
        <p14:creationId xmlns:p14="http://schemas.microsoft.com/office/powerpoint/2010/main" val="7268412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Core VIO Algorithm</a:t>
            </a:r>
            <a:endParaRPr lang="en-US" b="1" dirty="0"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523500-1F01-4D4A-A09A-E68046B049CB}"/>
              </a:ext>
            </a:extLst>
          </p:cNvPr>
          <p:cNvSpPr txBox="1"/>
          <p:nvPr/>
        </p:nvSpPr>
        <p:spPr>
          <a:xfrm>
            <a:off x="495297" y="882796"/>
            <a:ext cx="85335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Using previous state and new visual and IMU data to update the state estimat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B9E25321-5687-4593-9DCA-D88E41DCBB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092" y="4926352"/>
            <a:ext cx="5829300" cy="1590675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A27E78A0-C937-4318-8AD2-D9BA82F75F84}"/>
              </a:ext>
            </a:extLst>
          </p:cNvPr>
          <p:cNvSpPr txBox="1"/>
          <p:nvPr/>
        </p:nvSpPr>
        <p:spPr>
          <a:xfrm>
            <a:off x="345680" y="4557020"/>
            <a:ext cx="63245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ate vector in sliding window can be represented as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08BC1DC-F951-4011-A739-462D0AC1A938}"/>
                  </a:ext>
                </a:extLst>
              </p:cNvPr>
              <p:cNvSpPr txBox="1"/>
              <p:nvPr/>
            </p:nvSpPr>
            <p:spPr>
              <a:xfrm>
                <a:off x="6767117" y="4726706"/>
                <a:ext cx="4122737" cy="17746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l-GR" b="1" dirty="0">
                            <a:solidFill>
                              <a:schemeClr val="tx1"/>
                            </a:solidFill>
                          </a:rPr>
                          <m:t>λ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𝒍</m:t>
                        </m:r>
                      </m:sub>
                    </m:sSub>
                    <m:r>
                      <a:rPr lang="en-US" b="1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b="1" dirty="0">
                    <a:solidFill>
                      <a:schemeClr val="tx1"/>
                    </a:solidFill>
                  </a:rPr>
                  <a:t>: </a:t>
                </a:r>
                <a:r>
                  <a:rPr lang="en-US" dirty="0">
                    <a:solidFill>
                      <a:schemeClr val="tx1"/>
                    </a:solidFill>
                  </a:rPr>
                  <a:t>inverse distance to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p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 dirty="0">
                    <a:solidFill>
                      <a:schemeClr val="tx1"/>
                    </a:solidFill>
                  </a:rPr>
                  <a:t> feature</a:t>
                </a:r>
                <a:r>
                  <a:rPr lang="en-US" b="1" dirty="0">
                    <a:solidFill>
                      <a:schemeClr val="tx1"/>
                    </a:solidFill>
                  </a:rPr>
                  <a:t> </a:t>
                </a:r>
                <a:br>
                  <a:rPr lang="en-US" b="1" dirty="0">
                    <a:solidFill>
                      <a:schemeClr val="tx1"/>
                    </a:solidFill>
                  </a:rPr>
                </a:br>
                <a:endParaRPr lang="en-US" b="1" dirty="0">
                  <a:solidFill>
                    <a:schemeClr val="tx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𝒌</m:t>
                        </m:r>
                      </m:sub>
                    </m:sSub>
                  </m:oMath>
                </a14:m>
                <a:r>
                  <a:rPr lang="en-US" b="1" dirty="0">
                    <a:solidFill>
                      <a:schemeClr val="tx1"/>
                    </a:solidFill>
                  </a:rPr>
                  <a:t>: </a:t>
                </a:r>
                <a:r>
                  <a:rPr lang="en-US" dirty="0">
                    <a:solidFill>
                      <a:schemeClr val="tx1"/>
                    </a:solidFill>
                  </a:rPr>
                  <a:t>IMU reading at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p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 dirty="0">
                    <a:solidFill>
                      <a:schemeClr val="tx1"/>
                    </a:solidFill>
                  </a:rPr>
                  <a:t> frame in window</a:t>
                </a:r>
                <a:br>
                  <a:rPr lang="en-US" dirty="0">
                    <a:solidFill>
                      <a:schemeClr val="tx1"/>
                    </a:solidFill>
                  </a:rPr>
                </a:br>
                <a:endParaRPr lang="en-US" dirty="0">
                  <a:solidFill>
                    <a:schemeClr val="tx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  <m:sup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sup>
                    </m:sSubSup>
                  </m:oMath>
                </a14:m>
                <a:r>
                  <a:rPr lang="en-US" b="1" dirty="0">
                    <a:solidFill>
                      <a:schemeClr val="tx1"/>
                    </a:solidFill>
                  </a:rPr>
                  <a:t>: </a:t>
                </a:r>
                <a:r>
                  <a:rPr lang="en-US" dirty="0">
                    <a:solidFill>
                      <a:schemeClr val="tx1"/>
                    </a:solidFill>
                  </a:rPr>
                  <a:t>camera to body vector</a:t>
                </a:r>
                <a:endParaRPr lang="en-US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08BC1DC-F951-4011-A739-462D0AC1A93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67117" y="4726706"/>
                <a:ext cx="4122737" cy="1774653"/>
              </a:xfrm>
              <a:prstGeom prst="rect">
                <a:avLst/>
              </a:prstGeom>
              <a:blipFill>
                <a:blip r:embed="rId8"/>
                <a:stretch>
                  <a:fillRect l="-888" t="-1375" b="-48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2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A685C359-F24A-473E-8139-037CA0C04D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4255" y="1631032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A774FD9A-8783-4E54-86FC-C2DFE60A6D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117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325D99D4-86FC-49D3-BE49-459B9960C2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367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A93D8AEE-ED0C-4B1B-AC0C-5E0B36C86E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1717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AE6C43DA-D502-409B-B5D2-730357722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8542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F937B307-83A9-4D07-BB64-599E8E128CB4}"/>
              </a:ext>
            </a:extLst>
          </p:cNvPr>
          <p:cNvSpPr/>
          <p:nvPr/>
        </p:nvSpPr>
        <p:spPr>
          <a:xfrm>
            <a:off x="6670279" y="1459289"/>
            <a:ext cx="5133974" cy="2049244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772290D-AA31-44C0-9E24-51EFA794A4A4}"/>
              </a:ext>
            </a:extLst>
          </p:cNvPr>
          <p:cNvSpPr txBox="1"/>
          <p:nvPr/>
        </p:nvSpPr>
        <p:spPr>
          <a:xfrm>
            <a:off x="3444479" y="3443900"/>
            <a:ext cx="789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iori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0211B1E-5307-40C4-ACD2-872DF0A4AAFD}"/>
              </a:ext>
            </a:extLst>
          </p:cNvPr>
          <p:cNvSpPr txBox="1"/>
          <p:nvPr/>
        </p:nvSpPr>
        <p:spPr>
          <a:xfrm>
            <a:off x="6545898" y="1129938"/>
            <a:ext cx="5471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his module works only on Sliding Window part</a:t>
            </a:r>
          </a:p>
        </p:txBody>
      </p:sp>
      <p:pic>
        <p:nvPicPr>
          <p:cNvPr id="30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13C880FD-CEEC-4E61-966B-CF217EC82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430" y="1650082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77A2AA4D-9494-4F67-B4EB-581C66FB0A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5205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55C261C1-C039-4D1F-ADCF-FA22AD8045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8380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86B225A0-4ACC-4248-A8A3-15031BD739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130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68FA0E60-DDFA-4662-9092-861E19630A2B}"/>
              </a:ext>
            </a:extLst>
          </p:cNvPr>
          <p:cNvSpPr txBox="1"/>
          <p:nvPr/>
        </p:nvSpPr>
        <p:spPr>
          <a:xfrm>
            <a:off x="8576072" y="3508533"/>
            <a:ext cx="1972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liding Window</a:t>
            </a:r>
          </a:p>
        </p:txBody>
      </p:sp>
    </p:spTree>
    <p:extLst>
      <p:ext uri="{BB962C8B-B14F-4D97-AF65-F5344CB8AC3E}">
        <p14:creationId xmlns:p14="http://schemas.microsoft.com/office/powerpoint/2010/main" val="3710761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Core VIO Algorithm</a:t>
            </a:r>
            <a:endParaRPr lang="en-US" b="1" dirty="0"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523500-1F01-4D4A-A09A-E68046B049CB}"/>
              </a:ext>
            </a:extLst>
          </p:cNvPr>
          <p:cNvSpPr txBox="1"/>
          <p:nvPr/>
        </p:nvSpPr>
        <p:spPr>
          <a:xfrm>
            <a:off x="495297" y="882796"/>
            <a:ext cx="85335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Using previous state and new visual and IMU data to update the state estimat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B9E25321-5687-4593-9DCA-D88E41DCBB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092" y="4926352"/>
            <a:ext cx="5829300" cy="1590675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A27E78A0-C937-4318-8AD2-D9BA82F75F84}"/>
              </a:ext>
            </a:extLst>
          </p:cNvPr>
          <p:cNvSpPr txBox="1"/>
          <p:nvPr/>
        </p:nvSpPr>
        <p:spPr>
          <a:xfrm>
            <a:off x="345680" y="4557020"/>
            <a:ext cx="63245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ate vector in sliding window can be represented as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08BC1DC-F951-4011-A739-462D0AC1A938}"/>
                  </a:ext>
                </a:extLst>
              </p:cNvPr>
              <p:cNvSpPr txBox="1"/>
              <p:nvPr/>
            </p:nvSpPr>
            <p:spPr>
              <a:xfrm>
                <a:off x="6640398" y="4716911"/>
                <a:ext cx="4324936" cy="17746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l-GR" b="1" dirty="0">
                            <a:solidFill>
                              <a:schemeClr val="tx1"/>
                            </a:solidFill>
                          </a:rPr>
                          <m:t>λ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𝒍</m:t>
                        </m:r>
                      </m:sub>
                    </m:sSub>
                    <m:r>
                      <a:rPr lang="en-US" b="1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b="1" dirty="0">
                    <a:solidFill>
                      <a:schemeClr val="tx1"/>
                    </a:solidFill>
                  </a:rPr>
                  <a:t>: </a:t>
                </a:r>
                <a:r>
                  <a:rPr lang="en-US" dirty="0">
                    <a:solidFill>
                      <a:schemeClr val="tx1"/>
                    </a:solidFill>
                  </a:rPr>
                  <a:t>inverse distance to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p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 dirty="0">
                    <a:solidFill>
                      <a:schemeClr val="tx1"/>
                    </a:solidFill>
                  </a:rPr>
                  <a:t> feature</a:t>
                </a:r>
                <a:r>
                  <a:rPr lang="en-US" b="1" dirty="0">
                    <a:solidFill>
                      <a:schemeClr val="tx1"/>
                    </a:solidFill>
                  </a:rPr>
                  <a:t> </a:t>
                </a:r>
                <a:br>
                  <a:rPr lang="en-US" b="1" dirty="0">
                    <a:solidFill>
                      <a:schemeClr val="tx1"/>
                    </a:solidFill>
                  </a:rPr>
                </a:br>
                <a:endParaRPr lang="en-US" b="1" dirty="0">
                  <a:solidFill>
                    <a:schemeClr val="tx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𝒌</m:t>
                        </m:r>
                      </m:sub>
                    </m:sSub>
                  </m:oMath>
                </a14:m>
                <a:r>
                  <a:rPr lang="en-US" b="1" dirty="0">
                    <a:solidFill>
                      <a:schemeClr val="tx1"/>
                    </a:solidFill>
                  </a:rPr>
                  <a:t>: </a:t>
                </a:r>
                <a:r>
                  <a:rPr lang="en-US" dirty="0">
                    <a:solidFill>
                      <a:schemeClr val="tx1"/>
                    </a:solidFill>
                  </a:rPr>
                  <a:t>IMU reading at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p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 dirty="0">
                    <a:solidFill>
                      <a:schemeClr val="tx1"/>
                    </a:solidFill>
                  </a:rPr>
                  <a:t> frame in window</a:t>
                </a:r>
                <a:br>
                  <a:rPr lang="en-US" dirty="0">
                    <a:solidFill>
                      <a:schemeClr val="tx1"/>
                    </a:solidFill>
                  </a:rPr>
                </a:br>
                <a:endParaRPr lang="en-US" dirty="0">
                  <a:solidFill>
                    <a:schemeClr val="tx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  <m:sup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sup>
                    </m:sSubSup>
                  </m:oMath>
                </a14:m>
                <a:r>
                  <a:rPr lang="en-US" b="1" dirty="0">
                    <a:solidFill>
                      <a:schemeClr val="tx1"/>
                    </a:solidFill>
                  </a:rPr>
                  <a:t>: </a:t>
                </a:r>
                <a:r>
                  <a:rPr lang="en-US" dirty="0">
                    <a:solidFill>
                      <a:schemeClr val="tx1"/>
                    </a:solidFill>
                  </a:rPr>
                  <a:t>camera to body vector</a:t>
                </a:r>
                <a:endParaRPr lang="en-US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08BC1DC-F951-4011-A739-462D0AC1A93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0398" y="4716911"/>
                <a:ext cx="4324936" cy="1774653"/>
              </a:xfrm>
              <a:prstGeom prst="rect">
                <a:avLst/>
              </a:prstGeom>
              <a:blipFill>
                <a:blip r:embed="rId8"/>
                <a:stretch>
                  <a:fillRect l="-845" t="-1718" b="-48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2" name="Picture 21">
            <a:extLst>
              <a:ext uri="{FF2B5EF4-FFF2-40B4-BE49-F238E27FC236}">
                <a16:creationId xmlns:a16="http://schemas.microsoft.com/office/drawing/2014/main" id="{0AD6F794-B17A-4C8C-B86D-898F194197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1673" y="1779407"/>
            <a:ext cx="5332411" cy="1840951"/>
          </a:xfrm>
          <a:prstGeom prst="rect">
            <a:avLst/>
          </a:prstGeom>
          <a:ln>
            <a:noFill/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B809F3E-7A4F-4D25-9021-623DA824C0B0}"/>
              </a:ext>
            </a:extLst>
          </p:cNvPr>
          <p:cNvSpPr txBox="1"/>
          <p:nvPr/>
        </p:nvSpPr>
        <p:spPr>
          <a:xfrm>
            <a:off x="323736" y="1350891"/>
            <a:ext cx="631666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Optimization function to be satisfied at each timestep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D2987C-151A-4922-8419-471B95F47688}"/>
              </a:ext>
            </a:extLst>
          </p:cNvPr>
          <p:cNvSpPr txBox="1"/>
          <p:nvPr/>
        </p:nvSpPr>
        <p:spPr>
          <a:xfrm>
            <a:off x="7742961" y="3537411"/>
            <a:ext cx="3362325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Error due to prior inform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A7BBD4C-C458-42BE-B42D-3F52A8DEE481}"/>
              </a:ext>
            </a:extLst>
          </p:cNvPr>
          <p:cNvSpPr txBox="1"/>
          <p:nvPr/>
        </p:nvSpPr>
        <p:spPr>
          <a:xfrm>
            <a:off x="7862807" y="1556510"/>
            <a:ext cx="2162175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IMU residual erro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F278A63-B5B2-440A-80C3-9F7D589C7015}"/>
              </a:ext>
            </a:extLst>
          </p:cNvPr>
          <p:cNvSpPr txBox="1"/>
          <p:nvPr/>
        </p:nvSpPr>
        <p:spPr>
          <a:xfrm>
            <a:off x="7742961" y="2296658"/>
            <a:ext cx="2571750" cy="64633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Visual measurement residual error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9B16A362-05BA-4B01-8BDB-00BAE0252A96}"/>
              </a:ext>
            </a:extLst>
          </p:cNvPr>
          <p:cNvCxnSpPr>
            <a:cxnSpLocks/>
            <a:endCxn id="26" idx="1"/>
          </p:cNvCxnSpPr>
          <p:nvPr/>
        </p:nvCxnSpPr>
        <p:spPr>
          <a:xfrm flipV="1">
            <a:off x="5210175" y="1741176"/>
            <a:ext cx="2652632" cy="43822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AA5275B2-F8BF-4EF3-BF94-9F616B283BCC}"/>
              </a:ext>
            </a:extLst>
          </p:cNvPr>
          <p:cNvCxnSpPr>
            <a:cxnSpLocks/>
          </p:cNvCxnSpPr>
          <p:nvPr/>
        </p:nvCxnSpPr>
        <p:spPr>
          <a:xfrm flipV="1">
            <a:off x="5700632" y="2619825"/>
            <a:ext cx="2042329" cy="57865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011249D-FC66-4577-94D5-EEFFEC1988B0}"/>
              </a:ext>
            </a:extLst>
          </p:cNvPr>
          <p:cNvCxnSpPr>
            <a:cxnSpLocks/>
            <a:endCxn id="24" idx="1"/>
          </p:cNvCxnSpPr>
          <p:nvPr/>
        </p:nvCxnSpPr>
        <p:spPr>
          <a:xfrm>
            <a:off x="1695450" y="3707736"/>
            <a:ext cx="6047511" cy="1434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791184-29BA-46C7-8733-F6AB1C867A05}"/>
              </a:ext>
            </a:extLst>
          </p:cNvPr>
          <p:cNvCxnSpPr/>
          <p:nvPr/>
        </p:nvCxnSpPr>
        <p:spPr>
          <a:xfrm flipV="1">
            <a:off x="1695450" y="2341432"/>
            <a:ext cx="0" cy="136630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73938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Core VIO Algorithm</a:t>
            </a:r>
            <a:endParaRPr lang="en-US" b="1" dirty="0"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523500-1F01-4D4A-A09A-E68046B049CB}"/>
              </a:ext>
            </a:extLst>
          </p:cNvPr>
          <p:cNvSpPr txBox="1"/>
          <p:nvPr/>
        </p:nvSpPr>
        <p:spPr>
          <a:xfrm>
            <a:off x="495297" y="882796"/>
            <a:ext cx="85335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Using previous state and new visual and IMU data to update the state estimat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BE3CBBF-2213-4A26-BD25-4A628A21D330}"/>
              </a:ext>
            </a:extLst>
          </p:cNvPr>
          <p:cNvSpPr txBox="1"/>
          <p:nvPr/>
        </p:nvSpPr>
        <p:spPr>
          <a:xfrm>
            <a:off x="675478" y="1192155"/>
            <a:ext cx="2314575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IMU residual error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5BEE918-A3FF-4386-B006-807A7FE30F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1001" y="1561487"/>
            <a:ext cx="2521296" cy="1647825"/>
          </a:xfrm>
          <a:prstGeom prst="rect">
            <a:avLst/>
          </a:prstGeom>
          <a:ln>
            <a:noFill/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F09AEEE-0105-45E4-BFFA-336713ADBACF}"/>
              </a:ext>
            </a:extLst>
          </p:cNvPr>
          <p:cNvSpPr txBox="1"/>
          <p:nvPr/>
        </p:nvSpPr>
        <p:spPr>
          <a:xfrm>
            <a:off x="336078" y="3248394"/>
            <a:ext cx="35302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/>
              <a:t>Change in IMU states and bias estimates from previous frame to this frame by pre-integration st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6B1B878-0C97-418B-87C7-E0401B736C26}"/>
              </a:ext>
            </a:extLst>
          </p:cNvPr>
          <p:cNvSpPr txBox="1"/>
          <p:nvPr/>
        </p:nvSpPr>
        <p:spPr>
          <a:xfrm>
            <a:off x="4396281" y="1914314"/>
            <a:ext cx="2188351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Visual Measurement residual erro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0278E19-2A2A-481D-B53A-C744897139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87682" y="1340996"/>
            <a:ext cx="4968240" cy="232937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ABC93B8-A171-45E1-A6B8-F9F7112B8C6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63908" y="3851569"/>
            <a:ext cx="3629025" cy="2400300"/>
          </a:xfrm>
          <a:prstGeom prst="rect">
            <a:avLst/>
          </a:prstGeom>
          <a:ln>
            <a:noFill/>
          </a:ln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9035A7F7-611C-49C2-B72F-A8322EE3B579}"/>
              </a:ext>
            </a:extLst>
          </p:cNvPr>
          <p:cNvSpPr/>
          <p:nvPr/>
        </p:nvSpPr>
        <p:spPr>
          <a:xfrm>
            <a:off x="495297" y="1561486"/>
            <a:ext cx="3262414" cy="288723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F7BECF9-1819-4536-9596-8D73CFDF5642}"/>
              </a:ext>
            </a:extLst>
          </p:cNvPr>
          <p:cNvSpPr txBox="1"/>
          <p:nvPr/>
        </p:nvSpPr>
        <p:spPr>
          <a:xfrm>
            <a:off x="495297" y="4524552"/>
            <a:ext cx="2828925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What does it all mean?</a:t>
            </a: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0B8C1447-7EAE-4CC1-BA02-8014A1F7998D}"/>
              </a:ext>
            </a:extLst>
          </p:cNvPr>
          <p:cNvCxnSpPr>
            <a:stCxn id="30" idx="1"/>
            <a:endCxn id="33" idx="1"/>
          </p:cNvCxnSpPr>
          <p:nvPr/>
        </p:nvCxnSpPr>
        <p:spPr>
          <a:xfrm rot="10800000" flipV="1">
            <a:off x="495298" y="2505682"/>
            <a:ext cx="6392385" cy="2203536"/>
          </a:xfrm>
          <a:prstGeom prst="bentConnector3">
            <a:avLst>
              <a:gd name="adj1" fmla="val 103576"/>
            </a:avLst>
          </a:prstGeom>
          <a:ln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104D8E4E-27C1-4381-A342-22E7C91F1A95}"/>
              </a:ext>
            </a:extLst>
          </p:cNvPr>
          <p:cNvSpPr txBox="1"/>
          <p:nvPr/>
        </p:nvSpPr>
        <p:spPr>
          <a:xfrm>
            <a:off x="453676" y="4880807"/>
            <a:ext cx="5036531" cy="17543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/>
              <a:t>It is just the scaled camera reprojection error of a feature </a:t>
            </a:r>
          </a:p>
          <a:p>
            <a:endParaRPr lang="en-US" dirty="0"/>
          </a:p>
          <a:p>
            <a:r>
              <a:rPr lang="en-US" b="1" dirty="0"/>
              <a:t>Error = Scale*(expected reprojection – true)</a:t>
            </a:r>
          </a:p>
          <a:p>
            <a:endParaRPr lang="en-US" b="1" dirty="0"/>
          </a:p>
          <a:p>
            <a:r>
              <a:rPr lang="en-US" b="1" dirty="0"/>
              <a:t>P : </a:t>
            </a:r>
            <a:r>
              <a:rPr lang="en-US" dirty="0"/>
              <a:t>unit vector along reprojection</a:t>
            </a:r>
            <a:endParaRPr lang="en-US" b="1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7D00D4B-C7B3-494A-831D-F7AAD717C59A}"/>
              </a:ext>
            </a:extLst>
          </p:cNvPr>
          <p:cNvSpPr txBox="1"/>
          <p:nvPr/>
        </p:nvSpPr>
        <p:spPr>
          <a:xfrm>
            <a:off x="8949874" y="2164908"/>
            <a:ext cx="1038858" cy="3077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Observe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7EA776B-84DF-482F-8A4D-4E7B23345EDC}"/>
              </a:ext>
            </a:extLst>
          </p:cNvPr>
          <p:cNvSpPr txBox="1"/>
          <p:nvPr/>
        </p:nvSpPr>
        <p:spPr>
          <a:xfrm>
            <a:off x="6996322" y="3208509"/>
            <a:ext cx="935173" cy="3077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Expect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8A0CDE-9725-4862-9E33-139C16E8566B}"/>
              </a:ext>
            </a:extLst>
          </p:cNvPr>
          <p:cNvSpPr/>
          <p:nvPr/>
        </p:nvSpPr>
        <p:spPr>
          <a:xfrm>
            <a:off x="336078" y="1208220"/>
            <a:ext cx="3629025" cy="3029405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4393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</a:t>
            </a:r>
            <a:r>
              <a:rPr lang="en-US" dirty="0" err="1">
                <a:solidFill>
                  <a:schemeClr val="accent1"/>
                </a:solidFill>
              </a:rPr>
              <a:t>Relocalization</a:t>
            </a:r>
            <a:r>
              <a:rPr lang="en-US" dirty="0">
                <a:solidFill>
                  <a:schemeClr val="accent1"/>
                </a:solidFill>
              </a:rPr>
              <a:t> v/s Pose Graph</a:t>
            </a:r>
            <a:endParaRPr lang="en-US" b="1" dirty="0"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523500-1F01-4D4A-A09A-E68046B049CB}"/>
              </a:ext>
            </a:extLst>
          </p:cNvPr>
          <p:cNvSpPr txBox="1"/>
          <p:nvPr/>
        </p:nvSpPr>
        <p:spPr>
          <a:xfrm>
            <a:off x="495297" y="882796"/>
            <a:ext cx="85335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Occurs at loop closu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7CB089-C53B-41A1-AF74-77AF4A8E1D7B}"/>
              </a:ext>
            </a:extLst>
          </p:cNvPr>
          <p:cNvSpPr txBox="1"/>
          <p:nvPr/>
        </p:nvSpPr>
        <p:spPr>
          <a:xfrm>
            <a:off x="390036" y="1211154"/>
            <a:ext cx="115268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ry effort is made to minimize error but still some drift occurs. When we visit a location again, our past knowledge and current position can help us correct for those drifts. Correcting those drifts in sliding window is </a:t>
            </a:r>
            <a:r>
              <a:rPr lang="en-US" b="1" dirty="0" err="1"/>
              <a:t>Relocalization</a:t>
            </a:r>
            <a:r>
              <a:rPr lang="en-US" b="1" dirty="0"/>
              <a:t> </a:t>
            </a:r>
            <a:r>
              <a:rPr lang="en-US" dirty="0"/>
              <a:t>and thereby adjusting previous data according to it is </a:t>
            </a:r>
            <a:r>
              <a:rPr lang="en-US" b="1" dirty="0"/>
              <a:t>Global pose graph optimization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EC00B69-14F9-446F-88CF-E86D743C9158}"/>
              </a:ext>
            </a:extLst>
          </p:cNvPr>
          <p:cNvSpPr/>
          <p:nvPr/>
        </p:nvSpPr>
        <p:spPr>
          <a:xfrm>
            <a:off x="318841" y="1180376"/>
            <a:ext cx="11554314" cy="916174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99F1D45-D30A-4B39-AEBB-6B1D94783D4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44028"/>
          <a:stretch/>
        </p:blipFill>
        <p:spPr>
          <a:xfrm>
            <a:off x="586942" y="2333625"/>
            <a:ext cx="5823384" cy="4276725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11B32AE-EC54-4655-96C3-5D321315275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7361"/>
          <a:stretch/>
        </p:blipFill>
        <p:spPr>
          <a:xfrm>
            <a:off x="6324602" y="2828040"/>
            <a:ext cx="5781674" cy="3363210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42665563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</a:t>
            </a:r>
            <a:r>
              <a:rPr lang="en-US" dirty="0" err="1">
                <a:solidFill>
                  <a:schemeClr val="accent1"/>
                </a:solidFill>
              </a:rPr>
              <a:t>Relocalization</a:t>
            </a:r>
            <a:endParaRPr lang="en-US" b="1" dirty="0"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6B74E2-6EFB-4B3B-A38F-5E212B1A8A0A}"/>
              </a:ext>
            </a:extLst>
          </p:cNvPr>
          <p:cNvSpPr txBox="1"/>
          <p:nvPr/>
        </p:nvSpPr>
        <p:spPr>
          <a:xfrm>
            <a:off x="370611" y="865264"/>
            <a:ext cx="118213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/>
              <a:t>Relocalization</a:t>
            </a:r>
            <a:r>
              <a:rPr lang="en-US" b="1" dirty="0"/>
              <a:t> has 2 steps: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Loop detection: </a:t>
            </a:r>
            <a:r>
              <a:rPr lang="en-US" dirty="0"/>
              <a:t>DBoW2 (Database Bag of Words representation of image features indexed for fast retrieval)</a:t>
            </a:r>
            <a:br>
              <a:rPr lang="en-US" b="1" dirty="0"/>
            </a:b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Optimiz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78A206-E686-4723-97EB-C560ED1C8E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4891" y="2404759"/>
            <a:ext cx="5324909" cy="257977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ABAEE77-793B-474B-9A81-1062C3D9C1C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44028"/>
          <a:stretch/>
        </p:blipFill>
        <p:spPr>
          <a:xfrm>
            <a:off x="7162076" y="2129527"/>
            <a:ext cx="4659313" cy="3375978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32F92C6-4C6F-4AA6-8C7C-8E5B11FE2E79}"/>
                  </a:ext>
                </a:extLst>
              </p:cNvPr>
              <p:cNvSpPr txBox="1"/>
              <p:nvPr/>
            </p:nvSpPr>
            <p:spPr>
              <a:xfrm>
                <a:off x="2913787" y="5378975"/>
                <a:ext cx="4448175" cy="3429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sz="16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p>
                        <m:r>
                          <a:rPr lang="en-US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 sz="1600" dirty="0">
                    <a:solidFill>
                      <a:schemeClr val="tx1"/>
                    </a:solidFill>
                  </a:rPr>
                  <a:t> feature observed previously in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𝑣</m:t>
                        </m:r>
                      </m:e>
                      <m:sup>
                        <m: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 sz="1600" dirty="0">
                    <a:solidFill>
                      <a:schemeClr val="tx1"/>
                    </a:solidFill>
                  </a:rPr>
                  <a:t> frame </a:t>
                </a: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32F92C6-4C6F-4AA6-8C7C-8E5B11FE2E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3787" y="5378975"/>
                <a:ext cx="4448175" cy="342979"/>
              </a:xfrm>
              <a:prstGeom prst="rect">
                <a:avLst/>
              </a:prstGeom>
              <a:blipFill>
                <a:blip r:embed="rId9"/>
                <a:stretch>
                  <a:fillRect t="-3509" b="-2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FC1E81C-2885-4C63-9C67-620C3BC19E26}"/>
              </a:ext>
            </a:extLst>
          </p:cNvPr>
          <p:cNvCxnSpPr>
            <a:cxnSpLocks/>
          </p:cNvCxnSpPr>
          <p:nvPr/>
        </p:nvCxnSpPr>
        <p:spPr>
          <a:xfrm flipV="1">
            <a:off x="1477100" y="5164152"/>
            <a:ext cx="0" cy="23503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BCDEE89C-0156-4CE1-9D6C-92A47B731109}"/>
              </a:ext>
            </a:extLst>
          </p:cNvPr>
          <p:cNvSpPr txBox="1"/>
          <p:nvPr/>
        </p:nvSpPr>
        <p:spPr>
          <a:xfrm>
            <a:off x="224701" y="5864751"/>
            <a:ext cx="114507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ence apart from usual cost function for sliding window, we now have a term which constraints us with loop connections to give us new estimated state and thus minimizing the overall drift.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7C3D362E-EAEC-4A2C-A324-DF5BE69D5275}"/>
              </a:ext>
            </a:extLst>
          </p:cNvPr>
          <p:cNvCxnSpPr>
            <a:cxnSpLocks/>
            <a:endCxn id="13" idx="1"/>
          </p:cNvCxnSpPr>
          <p:nvPr/>
        </p:nvCxnSpPr>
        <p:spPr>
          <a:xfrm rot="16200000" flipH="1">
            <a:off x="2378838" y="5015516"/>
            <a:ext cx="565936" cy="503962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03130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Global Pose Graph </a:t>
            </a:r>
            <a:r>
              <a:rPr lang="en-US" dirty="0" err="1">
                <a:solidFill>
                  <a:schemeClr val="accent1"/>
                </a:solidFill>
              </a:rPr>
              <a:t>Optimizatio</a:t>
            </a:r>
            <a:endParaRPr lang="en-US" b="1" dirty="0"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DA3902-C2BB-46B2-8C88-2104972B572C}"/>
              </a:ext>
            </a:extLst>
          </p:cNvPr>
          <p:cNvSpPr txBox="1"/>
          <p:nvPr/>
        </p:nvSpPr>
        <p:spPr>
          <a:xfrm>
            <a:off x="441119" y="1544978"/>
            <a:ext cx="54959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As we have already </a:t>
            </a:r>
            <a:r>
              <a:rPr lang="en-US" sz="2000" dirty="0" err="1"/>
              <a:t>relocalized</a:t>
            </a:r>
            <a:r>
              <a:rPr lang="en-US" sz="2000" dirty="0"/>
              <a:t> the sliding window, the pose graph looks like image 5</a:t>
            </a:r>
          </a:p>
          <a:p>
            <a:endParaRPr lang="en-US" sz="2000" dirty="0"/>
          </a:p>
          <a:p>
            <a:r>
              <a:rPr lang="en-US" sz="2000" b="1" dirty="0"/>
              <a:t>4-Dof pose graph optimization: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88BC4A-CB8D-4929-94B2-7EBBD2DDE7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7361"/>
          <a:stretch/>
        </p:blipFill>
        <p:spPr>
          <a:xfrm>
            <a:off x="5416139" y="1193088"/>
            <a:ext cx="6101424" cy="3367768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EDE0F2-C039-4467-B606-3BBB3A7DFA62}"/>
              </a:ext>
            </a:extLst>
          </p:cNvPr>
          <p:cNvSpPr txBox="1"/>
          <p:nvPr/>
        </p:nvSpPr>
        <p:spPr>
          <a:xfrm>
            <a:off x="480207" y="3143675"/>
            <a:ext cx="38766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one according to sequential and loop closure edges residual error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931EFCD-B521-4F63-A204-2C0343D3F0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32915" y="4252425"/>
            <a:ext cx="5514975" cy="116205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B278727-0952-414B-A886-794EC9422D5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81521" y="5086933"/>
            <a:ext cx="3933825" cy="981075"/>
          </a:xfrm>
          <a:prstGeom prst="rect">
            <a:avLst/>
          </a:prstGeom>
        </p:spPr>
      </p:pic>
      <p:sp>
        <p:nvSpPr>
          <p:cNvPr id="22" name="Flowchart: Off-page Connector 21">
            <a:extLst>
              <a:ext uri="{FF2B5EF4-FFF2-40B4-BE49-F238E27FC236}">
                <a16:creationId xmlns:a16="http://schemas.microsoft.com/office/drawing/2014/main" id="{F10F60CE-B09D-4FCB-827D-221265C4A7BD}"/>
              </a:ext>
            </a:extLst>
          </p:cNvPr>
          <p:cNvSpPr/>
          <p:nvPr/>
        </p:nvSpPr>
        <p:spPr>
          <a:xfrm>
            <a:off x="1439264" y="4487375"/>
            <a:ext cx="266700" cy="444577"/>
          </a:xfrm>
          <a:prstGeom prst="flowChartOffpageConnector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Flowchart: Off-page Connector 22">
            <a:extLst>
              <a:ext uri="{FF2B5EF4-FFF2-40B4-BE49-F238E27FC236}">
                <a16:creationId xmlns:a16="http://schemas.microsoft.com/office/drawing/2014/main" id="{06539A45-1FBC-4152-ACD0-71ADA504CBE7}"/>
              </a:ext>
            </a:extLst>
          </p:cNvPr>
          <p:cNvSpPr/>
          <p:nvPr/>
        </p:nvSpPr>
        <p:spPr>
          <a:xfrm>
            <a:off x="2106014" y="4487375"/>
            <a:ext cx="266700" cy="444577"/>
          </a:xfrm>
          <a:prstGeom prst="flowChartOffpageConnector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Flowchart: Off-page Connector 23">
            <a:extLst>
              <a:ext uri="{FF2B5EF4-FFF2-40B4-BE49-F238E27FC236}">
                <a16:creationId xmlns:a16="http://schemas.microsoft.com/office/drawing/2014/main" id="{9285CA92-47E6-46E0-B95E-13D2DBDDD9EE}"/>
              </a:ext>
            </a:extLst>
          </p:cNvPr>
          <p:cNvSpPr/>
          <p:nvPr/>
        </p:nvSpPr>
        <p:spPr>
          <a:xfrm>
            <a:off x="2763239" y="4487375"/>
            <a:ext cx="266700" cy="444577"/>
          </a:xfrm>
          <a:prstGeom prst="flowChartOffpageConnector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Flowchart: Off-page Connector 24">
            <a:extLst>
              <a:ext uri="{FF2B5EF4-FFF2-40B4-BE49-F238E27FC236}">
                <a16:creationId xmlns:a16="http://schemas.microsoft.com/office/drawing/2014/main" id="{29E5CA9F-7057-4095-B5BA-555665B7C7FB}"/>
              </a:ext>
            </a:extLst>
          </p:cNvPr>
          <p:cNvSpPr/>
          <p:nvPr/>
        </p:nvSpPr>
        <p:spPr>
          <a:xfrm>
            <a:off x="772514" y="5277950"/>
            <a:ext cx="266700" cy="444577"/>
          </a:xfrm>
          <a:prstGeom prst="flowChartOffpageConnector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Flowchart: Off-page Connector 25">
            <a:extLst>
              <a:ext uri="{FF2B5EF4-FFF2-40B4-BE49-F238E27FC236}">
                <a16:creationId xmlns:a16="http://schemas.microsoft.com/office/drawing/2014/main" id="{7148D43B-E629-4F8B-B013-A687579DFF23}"/>
              </a:ext>
            </a:extLst>
          </p:cNvPr>
          <p:cNvSpPr/>
          <p:nvPr/>
        </p:nvSpPr>
        <p:spPr>
          <a:xfrm>
            <a:off x="1439264" y="5277950"/>
            <a:ext cx="266700" cy="444577"/>
          </a:xfrm>
          <a:prstGeom prst="flowChartOffpageConnector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Flowchart: Off-page Connector 26">
            <a:extLst>
              <a:ext uri="{FF2B5EF4-FFF2-40B4-BE49-F238E27FC236}">
                <a16:creationId xmlns:a16="http://schemas.microsoft.com/office/drawing/2014/main" id="{66CF4CC3-78BA-4F4F-BBE1-8873AD10E943}"/>
              </a:ext>
            </a:extLst>
          </p:cNvPr>
          <p:cNvSpPr/>
          <p:nvPr/>
        </p:nvSpPr>
        <p:spPr>
          <a:xfrm>
            <a:off x="2096489" y="5277950"/>
            <a:ext cx="266700" cy="444577"/>
          </a:xfrm>
          <a:prstGeom prst="flowChartOffpageConnector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5ADF2803-02A6-4694-ADCB-BF8F2955AC39}"/>
              </a:ext>
            </a:extLst>
          </p:cNvPr>
          <p:cNvCxnSpPr>
            <a:stCxn id="24" idx="1"/>
            <a:endCxn id="23" idx="3"/>
          </p:cNvCxnSpPr>
          <p:nvPr/>
        </p:nvCxnSpPr>
        <p:spPr>
          <a:xfrm flipH="1">
            <a:off x="2372714" y="4709664"/>
            <a:ext cx="3905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5CDBA716-3924-400F-AAF5-B36A400BFA19}"/>
              </a:ext>
            </a:extLst>
          </p:cNvPr>
          <p:cNvCxnSpPr>
            <a:stCxn id="23" idx="1"/>
            <a:endCxn id="22" idx="3"/>
          </p:cNvCxnSpPr>
          <p:nvPr/>
        </p:nvCxnSpPr>
        <p:spPr>
          <a:xfrm flipH="1">
            <a:off x="1705964" y="4709664"/>
            <a:ext cx="4000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6B6B139A-9629-4C1D-9FA1-B82B3E0A9CD1}"/>
              </a:ext>
            </a:extLst>
          </p:cNvPr>
          <p:cNvCxnSpPr>
            <a:stCxn id="23" idx="2"/>
          </p:cNvCxnSpPr>
          <p:nvPr/>
        </p:nvCxnSpPr>
        <p:spPr>
          <a:xfrm>
            <a:off x="2239364" y="4931952"/>
            <a:ext cx="0" cy="3459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1DCC4E0-8915-425B-B597-2DF49A16AFFF}"/>
              </a:ext>
            </a:extLst>
          </p:cNvPr>
          <p:cNvCxnSpPr>
            <a:stCxn id="22" idx="2"/>
            <a:endCxn id="26" idx="0"/>
          </p:cNvCxnSpPr>
          <p:nvPr/>
        </p:nvCxnSpPr>
        <p:spPr>
          <a:xfrm>
            <a:off x="1572614" y="4931952"/>
            <a:ext cx="0" cy="3459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6B7F00D-6570-4E91-9A78-7000FFAE90BE}"/>
              </a:ext>
            </a:extLst>
          </p:cNvPr>
          <p:cNvCxnSpPr>
            <a:stCxn id="27" idx="1"/>
          </p:cNvCxnSpPr>
          <p:nvPr/>
        </p:nvCxnSpPr>
        <p:spPr>
          <a:xfrm flipH="1" flipV="1">
            <a:off x="1705964" y="5500238"/>
            <a:ext cx="390525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9D0A9885-0AF1-4062-B444-E51FC619D838}"/>
              </a:ext>
            </a:extLst>
          </p:cNvPr>
          <p:cNvCxnSpPr>
            <a:stCxn id="26" idx="1"/>
            <a:endCxn id="25" idx="3"/>
          </p:cNvCxnSpPr>
          <p:nvPr/>
        </p:nvCxnSpPr>
        <p:spPr>
          <a:xfrm flipH="1">
            <a:off x="1039214" y="5500239"/>
            <a:ext cx="4000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F9D5768-4DDA-4DA0-A746-94E91B651E12}"/>
              </a:ext>
            </a:extLst>
          </p:cNvPr>
          <p:cNvCxnSpPr>
            <a:endCxn id="24" idx="3"/>
          </p:cNvCxnSpPr>
          <p:nvPr/>
        </p:nvCxnSpPr>
        <p:spPr>
          <a:xfrm flipH="1">
            <a:off x="3029939" y="4709663"/>
            <a:ext cx="33337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083D9F4-E65F-4B14-9069-6FF2B99B38F5}"/>
              </a:ext>
            </a:extLst>
          </p:cNvPr>
          <p:cNvCxnSpPr>
            <a:stCxn id="25" idx="1"/>
          </p:cNvCxnSpPr>
          <p:nvPr/>
        </p:nvCxnSpPr>
        <p:spPr>
          <a:xfrm flipH="1" flipV="1">
            <a:off x="495298" y="5500238"/>
            <a:ext cx="27721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3F7B2CA-3081-4359-92FF-1C6A12DB5ABE}"/>
              </a:ext>
            </a:extLst>
          </p:cNvPr>
          <p:cNvCxnSpPr>
            <a:cxnSpLocks/>
            <a:endCxn id="27" idx="3"/>
          </p:cNvCxnSpPr>
          <p:nvPr/>
        </p:nvCxnSpPr>
        <p:spPr>
          <a:xfrm flipH="1">
            <a:off x="2363189" y="5500239"/>
            <a:ext cx="5334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53B5FA4-7254-4EFB-97BD-5AC2CE943D48}"/>
              </a:ext>
            </a:extLst>
          </p:cNvPr>
          <p:cNvCxnSpPr/>
          <p:nvPr/>
        </p:nvCxnSpPr>
        <p:spPr>
          <a:xfrm flipV="1">
            <a:off x="2567976" y="4020650"/>
            <a:ext cx="0" cy="689013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CDEC81D-5EBF-4DD5-80AD-AE9D1743F8A2}"/>
              </a:ext>
            </a:extLst>
          </p:cNvPr>
          <p:cNvCxnSpPr/>
          <p:nvPr/>
        </p:nvCxnSpPr>
        <p:spPr>
          <a:xfrm>
            <a:off x="2567976" y="4483941"/>
            <a:ext cx="1271587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0CC180B-C7B9-425A-A547-2224B26C7B83}"/>
              </a:ext>
            </a:extLst>
          </p:cNvPr>
          <p:cNvCxnSpPr/>
          <p:nvPr/>
        </p:nvCxnSpPr>
        <p:spPr>
          <a:xfrm>
            <a:off x="3830038" y="4483941"/>
            <a:ext cx="0" cy="1362075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E1D8509-F383-4836-A00B-9C5B83EC8057}"/>
              </a:ext>
            </a:extLst>
          </p:cNvPr>
          <p:cNvCxnSpPr/>
          <p:nvPr/>
        </p:nvCxnSpPr>
        <p:spPr>
          <a:xfrm>
            <a:off x="3839563" y="5874591"/>
            <a:ext cx="2495550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BADF839-88F5-47C7-A2BB-BB136D13FB35}"/>
              </a:ext>
            </a:extLst>
          </p:cNvPr>
          <p:cNvCxnSpPr>
            <a:cxnSpLocks/>
          </p:cNvCxnSpPr>
          <p:nvPr/>
        </p:nvCxnSpPr>
        <p:spPr>
          <a:xfrm>
            <a:off x="2239364" y="5076852"/>
            <a:ext cx="1131490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0E1266D-BC61-4FB5-9CEC-471B69EA94BE}"/>
              </a:ext>
            </a:extLst>
          </p:cNvPr>
          <p:cNvCxnSpPr>
            <a:cxnSpLocks/>
          </p:cNvCxnSpPr>
          <p:nvPr/>
        </p:nvCxnSpPr>
        <p:spPr>
          <a:xfrm>
            <a:off x="3370854" y="5076852"/>
            <a:ext cx="0" cy="782123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B5E40A3-268E-48F1-96FE-348D47C5FCC1}"/>
              </a:ext>
            </a:extLst>
          </p:cNvPr>
          <p:cNvCxnSpPr>
            <a:cxnSpLocks/>
          </p:cNvCxnSpPr>
          <p:nvPr/>
        </p:nvCxnSpPr>
        <p:spPr>
          <a:xfrm>
            <a:off x="3380378" y="6322266"/>
            <a:ext cx="4840685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2DEB5BA-D3F7-4018-8AF7-57398D25B504}"/>
              </a:ext>
            </a:extLst>
          </p:cNvPr>
          <p:cNvCxnSpPr>
            <a:cxnSpLocks/>
          </p:cNvCxnSpPr>
          <p:nvPr/>
        </p:nvCxnSpPr>
        <p:spPr>
          <a:xfrm>
            <a:off x="8154388" y="5931204"/>
            <a:ext cx="0" cy="391062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9874CFA6-1994-4567-9524-3878EBD20A93}"/>
              </a:ext>
            </a:extLst>
          </p:cNvPr>
          <p:cNvSpPr txBox="1"/>
          <p:nvPr/>
        </p:nvSpPr>
        <p:spPr>
          <a:xfrm>
            <a:off x="3904252" y="5540143"/>
            <a:ext cx="172402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Sequential ed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4512B3B-945B-4D5B-99E0-5DB177D25494}"/>
              </a:ext>
            </a:extLst>
          </p:cNvPr>
          <p:cNvSpPr txBox="1"/>
          <p:nvPr/>
        </p:nvSpPr>
        <p:spPr>
          <a:xfrm>
            <a:off x="4063599" y="5987817"/>
            <a:ext cx="123071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Loop edg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8C6AD54-B6B9-4E3E-A4C6-787966399361}"/>
              </a:ext>
            </a:extLst>
          </p:cNvPr>
          <p:cNvSpPr txBox="1"/>
          <p:nvPr/>
        </p:nvSpPr>
        <p:spPr>
          <a:xfrm>
            <a:off x="717355" y="3942069"/>
            <a:ext cx="123149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Pose Graph 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05AD480B-5B10-47FE-B970-CDDD7CECF824}"/>
              </a:ext>
            </a:extLst>
          </p:cNvPr>
          <p:cNvCxnSpPr>
            <a:endCxn id="45" idx="1"/>
          </p:cNvCxnSpPr>
          <p:nvPr/>
        </p:nvCxnSpPr>
        <p:spPr>
          <a:xfrm>
            <a:off x="2567976" y="4709663"/>
            <a:ext cx="1336276" cy="984369"/>
          </a:xfrm>
          <a:prstGeom prst="bentConnector3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FDB0C6F5-D7BB-45E8-B1FE-12A347E94013}"/>
              </a:ext>
            </a:extLst>
          </p:cNvPr>
          <p:cNvCxnSpPr>
            <a:endCxn id="46" idx="1"/>
          </p:cNvCxnSpPr>
          <p:nvPr/>
        </p:nvCxnSpPr>
        <p:spPr>
          <a:xfrm>
            <a:off x="2239364" y="5076852"/>
            <a:ext cx="1824235" cy="1064854"/>
          </a:xfrm>
          <a:prstGeom prst="bentConnector3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179464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Working</a:t>
            </a:r>
            <a:endParaRPr lang="en-US" b="1" dirty="0">
              <a:latin typeface="+mn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5AB53A6-B58D-4937-8591-ACCDAAEC09B9}"/>
              </a:ext>
            </a:extLst>
          </p:cNvPr>
          <p:cNvSpPr txBox="1"/>
          <p:nvPr/>
        </p:nvSpPr>
        <p:spPr>
          <a:xfrm>
            <a:off x="176909" y="3858137"/>
            <a:ext cx="1183817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</a:t>
            </a:r>
            <a:r>
              <a:rPr lang="en-US" b="1" dirty="0"/>
              <a:t>/Scene </a:t>
            </a:r>
            <a:r>
              <a:rPr lang="en-US" dirty="0"/>
              <a:t>data goes to </a:t>
            </a:r>
            <a:r>
              <a:rPr lang="en-US" b="1" dirty="0"/>
              <a:t>/</a:t>
            </a:r>
            <a:r>
              <a:rPr lang="en-US" b="1" dirty="0" err="1"/>
              <a:t>feature_tracker</a:t>
            </a:r>
            <a:r>
              <a:rPr lang="en-US" b="1" dirty="0"/>
              <a:t> </a:t>
            </a:r>
            <a:r>
              <a:rPr lang="en-US" dirty="0"/>
              <a:t>(pre-processing) and </a:t>
            </a:r>
            <a:r>
              <a:rPr lang="en-US" b="1" dirty="0"/>
              <a:t>/</a:t>
            </a:r>
            <a:r>
              <a:rPr lang="en-US" b="1" dirty="0" err="1"/>
              <a:t>pose_graph</a:t>
            </a:r>
            <a:r>
              <a:rPr lang="en-US" b="1" dirty="0"/>
              <a:t> </a:t>
            </a:r>
            <a:r>
              <a:rPr lang="en-US" dirty="0"/>
              <a:t>(detect loop closure)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ny matched points from previous poses, </a:t>
            </a:r>
            <a:r>
              <a:rPr lang="en-US" b="1" dirty="0"/>
              <a:t>/</a:t>
            </a:r>
            <a:r>
              <a:rPr lang="en-US" b="1" dirty="0" err="1"/>
              <a:t>pose_graph</a:t>
            </a:r>
            <a:r>
              <a:rPr lang="en-US" b="1" dirty="0"/>
              <a:t> </a:t>
            </a:r>
            <a:r>
              <a:rPr lang="en-US" dirty="0"/>
              <a:t>gives it to </a:t>
            </a:r>
            <a:r>
              <a:rPr lang="en-US" b="1" dirty="0"/>
              <a:t>/</a:t>
            </a:r>
            <a:r>
              <a:rPr lang="en-US" b="1" dirty="0" err="1"/>
              <a:t>vins_estimator</a:t>
            </a:r>
            <a:r>
              <a:rPr lang="en-US" b="1" dirty="0"/>
              <a:t> </a:t>
            </a:r>
            <a:r>
              <a:rPr lang="en-US" dirty="0"/>
              <a:t>(VIO-core) to optimize for it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l marginalized keyframes are saved in </a:t>
            </a:r>
            <a:r>
              <a:rPr lang="en-US" b="1" dirty="0"/>
              <a:t>/</a:t>
            </a:r>
            <a:r>
              <a:rPr lang="en-US" b="1" dirty="0" err="1"/>
              <a:t>pose_graph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rrently, we have set VINS to receive </a:t>
            </a:r>
            <a:r>
              <a:rPr lang="en-US" b="1" dirty="0"/>
              <a:t>IMU data from </a:t>
            </a:r>
            <a:r>
              <a:rPr lang="en-US" b="1" dirty="0" err="1"/>
              <a:t>mavros</a:t>
            </a:r>
            <a:r>
              <a:rPr lang="en-US" b="1" dirty="0"/>
              <a:t> </a:t>
            </a:r>
            <a:r>
              <a:rPr lang="en-US" dirty="0"/>
              <a:t>(can be made to take from </a:t>
            </a:r>
            <a:r>
              <a:rPr lang="en-US" dirty="0" err="1"/>
              <a:t>airsim</a:t>
            </a:r>
            <a:r>
              <a:rPr lang="en-US" dirty="0"/>
              <a:t> too)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eature tracker tells </a:t>
            </a:r>
            <a:r>
              <a:rPr lang="en-US" b="1" dirty="0"/>
              <a:t>/</a:t>
            </a:r>
            <a:r>
              <a:rPr lang="en-US" b="1" dirty="0" err="1"/>
              <a:t>vins_estimator</a:t>
            </a:r>
            <a:r>
              <a:rPr lang="en-US" b="1" dirty="0"/>
              <a:t> </a:t>
            </a:r>
            <a:r>
              <a:rPr lang="en-US" dirty="0"/>
              <a:t>to restart if it looses track by a separate channel </a:t>
            </a:r>
            <a:r>
              <a:rPr lang="en-US" b="1" dirty="0"/>
              <a:t>/</a:t>
            </a:r>
            <a:r>
              <a:rPr lang="en-US" b="1" dirty="0" err="1"/>
              <a:t>feature_tracker</a:t>
            </a:r>
            <a:r>
              <a:rPr lang="en-US" b="1" dirty="0"/>
              <a:t>/restart</a:t>
            </a:r>
          </a:p>
        </p:txBody>
      </p:sp>
      <p:pic>
        <p:nvPicPr>
          <p:cNvPr id="49" name="Picture 48" descr="A screenshot of a computer&#10;&#10;Description automatically generated">
            <a:extLst>
              <a:ext uri="{FF2B5EF4-FFF2-40B4-BE49-F238E27FC236}">
                <a16:creationId xmlns:a16="http://schemas.microsoft.com/office/drawing/2014/main" id="{27317023-1A62-4B5B-B0B1-68DDD205CD0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6" y="1529714"/>
            <a:ext cx="12192000" cy="1828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451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6B3B15-7F13-4A8C-8EC6-071A0409E4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6B3B15-7F13-4A8C-8EC6-071A0409E4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F676698-1BB5-4861-AF6C-CC7EC03F3D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: SLAM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706210"/>
            <a:ext cx="5372100" cy="1747345"/>
          </a:xfrm>
        </p:spPr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Mapping </a:t>
            </a:r>
          </a:p>
          <a:p>
            <a:pPr lvl="0"/>
            <a:r>
              <a:rPr lang="en-US" dirty="0">
                <a:solidFill>
                  <a:prstClr val="black"/>
                </a:solidFill>
              </a:rPr>
              <a:t>(What does the world look like?)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Requires access to observe and recognize landmarks</a:t>
            </a:r>
          </a:p>
          <a:p>
            <a:pPr lvl="2"/>
            <a:r>
              <a:rPr lang="en-US" dirty="0"/>
              <a:t>Camera, Lida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AB85AC-698D-4575-8395-DDC784BD9F8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706210"/>
            <a:ext cx="5372100" cy="1747345"/>
          </a:xfrm>
        </p:spPr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Localization</a:t>
            </a:r>
          </a:p>
          <a:p>
            <a:pPr lvl="0"/>
            <a:r>
              <a:rPr lang="en-US" dirty="0">
                <a:solidFill>
                  <a:prstClr val="black"/>
                </a:solidFill>
              </a:rPr>
              <a:t>(Where am I?)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Requires good odometry data. </a:t>
            </a:r>
            <a:r>
              <a:rPr lang="en-US" dirty="0"/>
              <a:t>(where and how much I moved?)</a:t>
            </a:r>
            <a:endParaRPr lang="en-US" dirty="0">
              <a:solidFill>
                <a:prstClr val="black"/>
              </a:solidFill>
            </a:endParaRPr>
          </a:p>
          <a:p>
            <a:pPr lvl="2"/>
            <a:r>
              <a:rPr lang="en-US" dirty="0"/>
              <a:t>IMU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The two essential components of SLAM</a:t>
            </a:r>
          </a:p>
        </p:txBody>
      </p:sp>
      <p:pic>
        <p:nvPicPr>
          <p:cNvPr id="13" name="Picture 4" descr="OctoMap - 3D occupancy mapping">
            <a:extLst>
              <a:ext uri="{FF2B5EF4-FFF2-40B4-BE49-F238E27FC236}">
                <a16:creationId xmlns:a16="http://schemas.microsoft.com/office/drawing/2014/main" id="{F8555679-B2C7-4331-A332-7C74C56084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398" y="1404445"/>
            <a:ext cx="4350657" cy="2114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GSoC 2017 - JdeRobot">
            <a:extLst>
              <a:ext uri="{FF2B5EF4-FFF2-40B4-BE49-F238E27FC236}">
                <a16:creationId xmlns:a16="http://schemas.microsoft.com/office/drawing/2014/main" id="{E55DA6B2-4ACF-4A47-BB83-B9D3529194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327" y="938045"/>
            <a:ext cx="4437412" cy="2580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70217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: Temporal </a:t>
            </a:r>
            <a:r>
              <a:rPr lang="en-US" dirty="0" err="1">
                <a:solidFill>
                  <a:schemeClr val="accent1"/>
                </a:solidFill>
              </a:rPr>
              <a:t>Caliberation</a:t>
            </a:r>
            <a:endParaRPr lang="en-US" b="1" dirty="0">
              <a:latin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EBBB01-93D1-4159-A765-393C3B11C0E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5298" y="2526025"/>
            <a:ext cx="2190750" cy="19473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0198980-4F45-435C-AB01-6D97E665F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8303" y="4730447"/>
            <a:ext cx="2435225" cy="177058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52E575F-BE86-45F3-8F1D-93AC1016D3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298" y="969944"/>
            <a:ext cx="3648654" cy="1611094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93FF56E-328C-4D28-8D64-C6BA26A36736}"/>
                  </a:ext>
                </a:extLst>
              </p:cNvPr>
              <p:cNvSpPr txBox="1"/>
              <p:nvPr/>
            </p:nvSpPr>
            <p:spPr>
              <a:xfrm>
                <a:off x="4438012" y="1046982"/>
                <a:ext cx="4580311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solidFill>
                      <a:schemeClr val="tx1"/>
                    </a:solidFill>
                  </a:rPr>
                  <a:t>IMU and camera measurement don’t arrive at the same time, hence an estimate of </a:t>
                </a:r>
                <a:r>
                  <a:rPr lang="en-US" b="1" dirty="0">
                    <a:solidFill>
                      <a:schemeClr val="tx1"/>
                    </a:solidFill>
                  </a:rPr>
                  <a:t>time delay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𝒅</m:t>
                        </m:r>
                      </m:sub>
                    </m:sSub>
                  </m:oMath>
                </a14:m>
                <a:r>
                  <a:rPr lang="en-US" b="1" dirty="0">
                    <a:solidFill>
                      <a:schemeClr val="tx1"/>
                    </a:solidFill>
                  </a:rPr>
                  <a:t>)</a:t>
                </a:r>
                <a:r>
                  <a:rPr lang="en-US" dirty="0">
                    <a:solidFill>
                      <a:schemeClr val="tx1"/>
                    </a:solidFill>
                  </a:rPr>
                  <a:t> is required</a:t>
                </a: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93FF56E-328C-4D28-8D64-C6BA26A367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38012" y="1046982"/>
                <a:ext cx="4580311" cy="923330"/>
              </a:xfrm>
              <a:prstGeom prst="rect">
                <a:avLst/>
              </a:prstGeom>
              <a:blipFill>
                <a:blip r:embed="rId10"/>
                <a:stretch>
                  <a:fillRect l="-1065" t="-3974" r="-1465" b="-99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>
            <a:extLst>
              <a:ext uri="{FF2B5EF4-FFF2-40B4-BE49-F238E27FC236}">
                <a16:creationId xmlns:a16="http://schemas.microsoft.com/office/drawing/2014/main" id="{809CE682-BCA0-4DB9-88A8-F1C68A71896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085518" y="2679394"/>
            <a:ext cx="2660650" cy="690106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02F348D-657B-4522-9194-F6B1630DDA40}"/>
              </a:ext>
            </a:extLst>
          </p:cNvPr>
          <p:cNvSpPr txBox="1"/>
          <p:nvPr/>
        </p:nvSpPr>
        <p:spPr>
          <a:xfrm>
            <a:off x="7006270" y="2755821"/>
            <a:ext cx="273367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Expected location of feature considering time dela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BA8922-3C5F-4DF3-B884-28D22EAE47F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725885" y="3631875"/>
            <a:ext cx="3280385" cy="64787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0C45691-DEB5-484D-8568-D113FF886678}"/>
              </a:ext>
            </a:extLst>
          </p:cNvPr>
          <p:cNvSpPr txBox="1"/>
          <p:nvPr/>
        </p:nvSpPr>
        <p:spPr>
          <a:xfrm>
            <a:off x="7195817" y="3840521"/>
            <a:ext cx="235458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New state func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A3E0459-9792-4B56-A913-B3CB4D98B1F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47781" y="4473358"/>
            <a:ext cx="3280386" cy="2230956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F01D7FF-CFE4-4510-87F3-20B5ED9CBD27}"/>
              </a:ext>
            </a:extLst>
          </p:cNvPr>
          <p:cNvSpPr txBox="1"/>
          <p:nvPr/>
        </p:nvSpPr>
        <p:spPr>
          <a:xfrm>
            <a:off x="6969400" y="5246409"/>
            <a:ext cx="2807414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Using same optimization cost function as before but with a newer state function</a:t>
            </a:r>
          </a:p>
        </p:txBody>
      </p:sp>
    </p:spTree>
    <p:extLst>
      <p:ext uri="{BB962C8B-B14F-4D97-AF65-F5344CB8AC3E}">
        <p14:creationId xmlns:p14="http://schemas.microsoft.com/office/powerpoint/2010/main" val="40954672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B172D0-B6D2-4D67-9B5A-AC0B9F1B39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B172D0-B6D2-4D67-9B5A-AC0B9F1B3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98755F9-53CB-468B-B4EA-C1976856A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57200"/>
            <a:ext cx="11201401" cy="419100"/>
          </a:xfrm>
        </p:spPr>
        <p:txBody>
          <a:bodyPr/>
          <a:lstStyle/>
          <a:p>
            <a:r>
              <a:rPr lang="en-US" dirty="0"/>
              <a:t>Overview: Key modu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z="2000" dirty="0">
                <a:solidFill>
                  <a:prstClr val="black"/>
                </a:solidFill>
              </a:rPr>
              <a:t>Sensors and Pre-processing</a:t>
            </a:r>
          </a:p>
          <a:p>
            <a:pPr lvl="0"/>
            <a:endParaRPr lang="en-US" sz="2000" dirty="0">
              <a:solidFill>
                <a:prstClr val="black"/>
              </a:solidFill>
            </a:endParaRPr>
          </a:p>
          <a:p>
            <a:pPr lvl="1"/>
            <a:r>
              <a:rPr lang="en-US" sz="2000" dirty="0"/>
              <a:t>Data from camera, LIDAR, IMU are fetched</a:t>
            </a:r>
          </a:p>
          <a:p>
            <a:pPr lvl="1"/>
            <a:endParaRPr lang="en-US" sz="2000" dirty="0"/>
          </a:p>
          <a:p>
            <a:pPr lvl="1"/>
            <a:r>
              <a:rPr lang="en-US" sz="2000" dirty="0"/>
              <a:t>Data is correspondingly pre-processed to be fed to successive modules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DADAB7-3AA4-4CDD-8838-7B70C8AC2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/>
            <a:r>
              <a:rPr lang="en-US" sz="2000" dirty="0">
                <a:solidFill>
                  <a:prstClr val="black"/>
                </a:solidFill>
              </a:rPr>
              <a:t>Feature detection and matching</a:t>
            </a:r>
          </a:p>
          <a:p>
            <a:pPr lvl="0"/>
            <a:endParaRPr lang="en-US" sz="2000" dirty="0">
              <a:solidFill>
                <a:prstClr val="black"/>
              </a:solidFill>
            </a:endParaRPr>
          </a:p>
          <a:p>
            <a:pPr lvl="1"/>
            <a:r>
              <a:rPr lang="en-US" sz="2000" dirty="0"/>
              <a:t>Relation between current and previous frame</a:t>
            </a:r>
          </a:p>
          <a:p>
            <a:pPr lvl="1"/>
            <a:endParaRPr lang="en-US" sz="2000" dirty="0"/>
          </a:p>
          <a:p>
            <a:pPr lvl="1"/>
            <a:r>
              <a:rPr lang="en-US" sz="1800" dirty="0"/>
              <a:t>Keeps track of intermediate motion</a:t>
            </a:r>
            <a:endParaRPr lang="en-US" sz="2000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lvl="0"/>
            <a:r>
              <a:rPr lang="en-US" sz="2000" dirty="0">
                <a:solidFill>
                  <a:prstClr val="black"/>
                </a:solidFill>
              </a:rPr>
              <a:t>Pose estimation and Global mapping</a:t>
            </a:r>
          </a:p>
          <a:p>
            <a:pPr lvl="0"/>
            <a:endParaRPr lang="en-US" sz="2000" dirty="0">
              <a:solidFill>
                <a:prstClr val="black"/>
              </a:solidFill>
            </a:endParaRPr>
          </a:p>
          <a:p>
            <a:pPr lvl="1"/>
            <a:r>
              <a:rPr lang="en-US" sz="2000" dirty="0"/>
              <a:t>These intermediate motions are then used to locate drone in global frame</a:t>
            </a:r>
            <a:endParaRPr lang="en-US" sz="18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C11F36-6018-43DD-B348-F830FC718CC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lvl="0"/>
            <a:r>
              <a:rPr lang="en-US" sz="2000" dirty="0">
                <a:solidFill>
                  <a:prstClr val="black"/>
                </a:solidFill>
              </a:rPr>
              <a:t>Loop closure and Bundle adjustment</a:t>
            </a:r>
          </a:p>
          <a:p>
            <a:pPr lvl="1"/>
            <a:endParaRPr lang="en-US" sz="2000" dirty="0"/>
          </a:p>
          <a:p>
            <a:pPr lvl="1"/>
            <a:r>
              <a:rPr lang="en-US" sz="2000" dirty="0"/>
              <a:t>Detecting previously visited area</a:t>
            </a:r>
          </a:p>
          <a:p>
            <a:pPr lvl="1"/>
            <a:endParaRPr lang="en-US" sz="2000" dirty="0"/>
          </a:p>
          <a:p>
            <a:pPr lvl="1"/>
            <a:r>
              <a:rPr lang="en-US" sz="2000" dirty="0"/>
              <a:t>Local and global data is adjusted again based on reconfigured values in bundle form</a:t>
            </a:r>
            <a:endParaRPr lang="en-US" sz="180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F0D3F1-E5EE-4D14-993E-0FC50F9D04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Any SLAM comprises of these modu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9CB5D3-1B0C-4955-8A0F-5D7B38C8529D}"/>
              </a:ext>
            </a:extLst>
          </p:cNvPr>
          <p:cNvSpPr/>
          <p:nvPr/>
        </p:nvSpPr>
        <p:spPr>
          <a:xfrm>
            <a:off x="9086850" y="1257299"/>
            <a:ext cx="2847975" cy="4524375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7508D4-B24A-495D-9123-A6776EAAA0DE}"/>
              </a:ext>
            </a:extLst>
          </p:cNvPr>
          <p:cNvSpPr txBox="1"/>
          <p:nvPr/>
        </p:nvSpPr>
        <p:spPr>
          <a:xfrm>
            <a:off x="9077325" y="1028700"/>
            <a:ext cx="9810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 dirty="0"/>
              <a:t>OPTIONAL</a:t>
            </a:r>
          </a:p>
        </p:txBody>
      </p:sp>
      <p:pic>
        <p:nvPicPr>
          <p:cNvPr id="13" name="Picture 4" descr="HOW DO DRONES WORK? PART 9 - IMU (Inertial Measurement Unit)">
            <a:extLst>
              <a:ext uri="{FF2B5EF4-FFF2-40B4-BE49-F238E27FC236}">
                <a16:creationId xmlns:a16="http://schemas.microsoft.com/office/drawing/2014/main" id="{A2B1FF6D-2F81-44BF-AC5E-CAD47EB6C4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5168" y="5685951"/>
            <a:ext cx="868214" cy="858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Monocular - Wikipedia">
            <a:extLst>
              <a:ext uri="{FF2B5EF4-FFF2-40B4-BE49-F238E27FC236}">
                <a16:creationId xmlns:a16="http://schemas.microsoft.com/office/drawing/2014/main" id="{3782BB60-4833-40DE-8E59-ECD7F70C30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alphaModFix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02907" y="5685951"/>
            <a:ext cx="909190" cy="858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CS 143: Local Feature Matching">
            <a:extLst>
              <a:ext uri="{FF2B5EF4-FFF2-40B4-BE49-F238E27FC236}">
                <a16:creationId xmlns:a16="http://schemas.microsoft.com/office/drawing/2014/main" id="{BF49BAB5-FE87-45FC-8084-4CA610888E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09238" y="4441575"/>
            <a:ext cx="2378418" cy="1207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arxiv on Twitter: &quot;A General Optimization-based Framework for ...">
            <a:extLst>
              <a:ext uri="{FF2B5EF4-FFF2-40B4-BE49-F238E27FC236}">
                <a16:creationId xmlns:a16="http://schemas.microsoft.com/office/drawing/2014/main" id="{91B7142A-9281-4B10-B85B-D3868414A4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75248" y="4227672"/>
            <a:ext cx="2337276" cy="1424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5092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6A843A-2282-4F8C-A8D7-81CB47B5C0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6A843A-2282-4F8C-A8D7-81CB47B5C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EDEAA3-565A-4C12-A75E-214A28B6E1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3684E5A-F00A-4250-BA27-4DA2B7AD0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: VI-SLA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114182-7763-4201-AE69-E7F4CF692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4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495299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Visual data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95299" y="1828800"/>
            <a:ext cx="3613966" cy="45339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Monocular/Stereo camera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prstClr val="black"/>
              </a:solidFill>
            </a:endParaRP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prstClr val="black"/>
              </a:solidFill>
            </a:endParaRP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prstClr val="black"/>
              </a:solidFill>
            </a:endParaRP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prstClr val="black"/>
              </a:solidFill>
            </a:endParaRP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Has very less chances of error as drone is physically present there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Lacks Scale measuremen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Low frequency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289016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Inertial data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289016" y="1828800"/>
            <a:ext cx="3613966" cy="45339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IMU measurements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prstClr val="black"/>
              </a:solidFill>
            </a:endParaRP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prstClr val="black"/>
              </a:solidFill>
            </a:endParaRP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prstClr val="black"/>
              </a:solidFill>
            </a:endParaRP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prstClr val="black"/>
              </a:solidFill>
            </a:endParaRP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Fast data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Has scale (metric)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ignificant error in form of bias associat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8082734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Challenge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082735" y="1828800"/>
            <a:ext cx="3613966" cy="45339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</a:endParaRP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How to integrate visual and inertial data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How to compensate time delay in receiving the data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How to deal with old data and large deviation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Minimize computation to make it real time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What if we loose track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How to detect and correct our estimates when visit a place again</a:t>
            </a:r>
          </a:p>
        </p:txBody>
      </p:sp>
      <p:pic>
        <p:nvPicPr>
          <p:cNvPr id="12" name="Picture 2" descr="Monocular - Wikipedia">
            <a:extLst>
              <a:ext uri="{FF2B5EF4-FFF2-40B4-BE49-F238E27FC236}">
                <a16:creationId xmlns:a16="http://schemas.microsoft.com/office/drawing/2014/main" id="{F09E452B-CC7C-4085-A5C0-73442810E3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760" y="2601469"/>
            <a:ext cx="1495742" cy="996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HOW DO DRONES WORK? PART 9 - IMU (Inertial Measurement Unit)">
            <a:extLst>
              <a:ext uri="{FF2B5EF4-FFF2-40B4-BE49-F238E27FC236}">
                <a16:creationId xmlns:a16="http://schemas.microsoft.com/office/drawing/2014/main" id="{DB61C891-500F-47C3-B166-17ACCAAAEF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3440" y="2567822"/>
            <a:ext cx="1075893" cy="1063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74699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4E18BE-06F0-4A0F-B959-AEE939404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4E18BE-06F0-4A0F-B959-AEE939404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92975B-8437-403E-ADEF-FE4B22D844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O Techniques: Classif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172635"/>
            <a:ext cx="5372100" cy="5545146"/>
          </a:xfrm>
        </p:spPr>
        <p:txBody>
          <a:bodyPr/>
          <a:lstStyle/>
          <a:p>
            <a:pPr lvl="0"/>
            <a:r>
              <a:rPr lang="en-US" dirty="0"/>
              <a:t>Filtering based:</a:t>
            </a:r>
          </a:p>
          <a:p>
            <a:pPr lvl="0"/>
            <a:r>
              <a:rPr lang="en-US" dirty="0"/>
              <a:t>IMU to assist visual-only SLAM</a:t>
            </a:r>
          </a:p>
          <a:p>
            <a:r>
              <a:rPr lang="en-US" b="0" dirty="0"/>
              <a:t>Comprises of all the techniques which use some kind of filtering algorithm like</a:t>
            </a:r>
            <a:br>
              <a:rPr lang="en-US" b="0" dirty="0"/>
            </a:br>
            <a:r>
              <a:rPr lang="en-US" b="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EKF (extended Kalman filter for non-linear problem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Ellipsoidal Kalman fil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Dynamic Linear model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aster and computationally cheap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as larger error and memory consump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ail to recover from lost state</a:t>
            </a:r>
          </a:p>
          <a:p>
            <a:endParaRPr lang="en-US" b="0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A94118-0CDC-4BFF-84BF-5F09FB36388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172635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Optimization based:</a:t>
            </a:r>
          </a:p>
          <a:p>
            <a:pPr lvl="0"/>
            <a:r>
              <a:rPr lang="en-US" dirty="0"/>
              <a:t>Error from both IMU and visual data is jointly minimized</a:t>
            </a:r>
          </a:p>
          <a:p>
            <a:pPr lvl="0"/>
            <a:endParaRPr lang="en-US" dirty="0"/>
          </a:p>
          <a:p>
            <a:r>
              <a:rPr lang="en-US" b="0" dirty="0"/>
              <a:t>We calculate error from tracking of features of visual data and IMU data error to match with it, we then modify the estimates to minimize this joint error</a:t>
            </a:r>
          </a:p>
          <a:p>
            <a:endParaRPr lang="en-US" b="0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omputationally intensiv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Less error and memory requiremen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ay or may not recover lost state</a:t>
            </a:r>
          </a:p>
          <a:p>
            <a:endParaRPr lang="en-US" b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47F00D-A645-42BA-981A-E80FA6C87244}"/>
              </a:ext>
            </a:extLst>
          </p:cNvPr>
          <p:cNvSpPr/>
          <p:nvPr/>
        </p:nvSpPr>
        <p:spPr>
          <a:xfrm>
            <a:off x="6257925" y="1171575"/>
            <a:ext cx="3067050" cy="4191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3C279B-3A6A-4719-9CF1-2B577EFCB36D}"/>
              </a:ext>
            </a:extLst>
          </p:cNvPr>
          <p:cNvSpPr/>
          <p:nvPr/>
        </p:nvSpPr>
        <p:spPr>
          <a:xfrm>
            <a:off x="409575" y="1153585"/>
            <a:ext cx="2486025" cy="4191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4242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6B3B15-7F13-4A8C-8EC6-071A0409E4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6B3B15-7F13-4A8C-8EC6-071A0409E4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F676698-1BB5-4861-AF6C-CC7EC03F3D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tering Based techniques: Overview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393289"/>
            <a:ext cx="5372100" cy="1747345"/>
          </a:xfrm>
        </p:spPr>
        <p:txBody>
          <a:bodyPr/>
          <a:lstStyle/>
          <a:p>
            <a:pPr lvl="0"/>
            <a:r>
              <a:rPr lang="en-US" dirty="0"/>
              <a:t>Feature Extraction and Tracking</a:t>
            </a:r>
          </a:p>
          <a:p>
            <a:pPr lvl="1"/>
            <a:r>
              <a:rPr lang="en-US" dirty="0" err="1"/>
              <a:t>Keypoints</a:t>
            </a:r>
            <a:r>
              <a:rPr lang="en-US" dirty="0"/>
              <a:t> and Descriptor</a:t>
            </a:r>
          </a:p>
          <a:p>
            <a:pPr lvl="1"/>
            <a:r>
              <a:rPr lang="en-US" dirty="0"/>
              <a:t>Uses camera feed</a:t>
            </a:r>
          </a:p>
          <a:p>
            <a:pPr marL="0" lvl="1" indent="0">
              <a:buNone/>
            </a:pPr>
            <a:r>
              <a:rPr lang="en-US" sz="2000" b="0" dirty="0"/>
              <a:t> - SIFT, SURF : </a:t>
            </a:r>
            <a:r>
              <a:rPr lang="en-US" sz="2000" b="0" dirty="0" err="1"/>
              <a:t>Binacular</a:t>
            </a:r>
            <a:r>
              <a:rPr lang="en-US" sz="2000" b="0" dirty="0"/>
              <a:t>-Vision SLAM</a:t>
            </a:r>
          </a:p>
          <a:p>
            <a:r>
              <a:rPr lang="en-US" sz="2000" b="0" dirty="0"/>
              <a:t> - Harris Detector: Mono-SLAM </a:t>
            </a:r>
          </a:p>
          <a:p>
            <a:r>
              <a:rPr lang="en-US" sz="2000" b="0" dirty="0"/>
              <a:t> - ORB: ORB-SLAM</a:t>
            </a:r>
          </a:p>
          <a:p>
            <a:pPr lvl="1"/>
            <a:endParaRPr lang="en-US" sz="200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AB85AC-698D-4575-8395-DDC784BD9F8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393289"/>
            <a:ext cx="5372100" cy="1747345"/>
          </a:xfrm>
        </p:spPr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Dynamic Observational Model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Control and State estimation using filtering pipeline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Uses IMU data</a:t>
            </a:r>
          </a:p>
          <a:p>
            <a:pPr lvl="2"/>
            <a:r>
              <a:rPr lang="en-US" dirty="0"/>
              <a:t>Extended Kalman Filter for non-linear problems</a:t>
            </a:r>
          </a:p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Two components of filtering based techniques</a:t>
            </a:r>
          </a:p>
        </p:txBody>
      </p:sp>
      <p:pic>
        <p:nvPicPr>
          <p:cNvPr id="13" name="Picture 2" descr="CS 143: Local Feature Matching">
            <a:extLst>
              <a:ext uri="{FF2B5EF4-FFF2-40B4-BE49-F238E27FC236}">
                <a16:creationId xmlns:a16="http://schemas.microsoft.com/office/drawing/2014/main" id="{F052F98E-CB8D-4667-A29D-3AADDB8DA9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95300" y="1001977"/>
            <a:ext cx="1862061" cy="2256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GitHub - deepanshut041/feature-detection: Oriented FAST and ...">
            <a:extLst>
              <a:ext uri="{FF2B5EF4-FFF2-40B4-BE49-F238E27FC236}">
                <a16:creationId xmlns:a16="http://schemas.microsoft.com/office/drawing/2014/main" id="{F2F9F04A-D2ED-4862-9AAA-F1CF35D39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8954" y="1180223"/>
            <a:ext cx="2981325" cy="1994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4646B351-AACF-4CAC-A592-A2FA75050F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148994" y="1148255"/>
            <a:ext cx="2216074" cy="2055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4C93613B-C306-4F15-9412-D5C7A2B4CB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585199" y="1153447"/>
            <a:ext cx="3234267" cy="2084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0098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 and Track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eature Extraction</a:t>
            </a:r>
          </a:p>
          <a:p>
            <a:pPr lvl="1"/>
            <a:r>
              <a:rPr lang="en-US" dirty="0" err="1"/>
              <a:t>Keypoints</a:t>
            </a:r>
            <a:r>
              <a:rPr lang="en-US" dirty="0"/>
              <a:t> (corner, change in first/second order derivative at a point, local maxima/minima)</a:t>
            </a:r>
          </a:p>
          <a:p>
            <a:pPr lvl="1"/>
            <a:r>
              <a:rPr lang="en-US" dirty="0"/>
              <a:t>The value at which </a:t>
            </a:r>
            <a:r>
              <a:rPr lang="en-US" dirty="0" err="1"/>
              <a:t>keypoint</a:t>
            </a:r>
            <a:r>
              <a:rPr lang="en-US" dirty="0"/>
              <a:t> selected is its descriptor</a:t>
            </a:r>
          </a:p>
          <a:p>
            <a:pPr marL="0" lvl="1" indent="0">
              <a:buNone/>
            </a:pPr>
            <a:r>
              <a:rPr lang="en-US" b="1" dirty="0">
                <a:solidFill>
                  <a:prstClr val="black"/>
                </a:solidFill>
              </a:rPr>
              <a:t>Feature Tracking</a:t>
            </a:r>
          </a:p>
          <a:p>
            <a:pPr lvl="1"/>
            <a:r>
              <a:rPr lang="en-US" dirty="0"/>
              <a:t>Descriptors are matched with </a:t>
            </a:r>
            <a:r>
              <a:rPr lang="en-US" dirty="0" err="1"/>
              <a:t>keypoints</a:t>
            </a:r>
            <a:r>
              <a:rPr lang="en-US" dirty="0"/>
              <a:t> from other images and warping matrix is calculated. </a:t>
            </a:r>
          </a:p>
          <a:p>
            <a:pPr marL="0" lvl="1" indent="0">
              <a:buNone/>
            </a:pPr>
            <a:endParaRPr lang="en-US" b="1" dirty="0">
              <a:solidFill>
                <a:prstClr val="black"/>
              </a:solidFill>
            </a:endParaRPr>
          </a:p>
          <a:p>
            <a:pPr marL="0" lvl="1" indent="0">
              <a:buNone/>
            </a:pP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VINS uses BRIEF descriptor and KLT sparse optical tracker</a:t>
            </a:r>
          </a:p>
        </p:txBody>
      </p:sp>
      <p:pic>
        <p:nvPicPr>
          <p:cNvPr id="11" name="Picture 2" descr="CS 143: Local Feature Matching">
            <a:extLst>
              <a:ext uri="{FF2B5EF4-FFF2-40B4-BE49-F238E27FC236}">
                <a16:creationId xmlns:a16="http://schemas.microsoft.com/office/drawing/2014/main" id="{0760C5A9-4FA4-40A5-9F5B-538FCC97EA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232072" y="1627968"/>
            <a:ext cx="1862061" cy="225632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ECEC070-DFFD-40A5-8A68-0F813BF64102}"/>
              </a:ext>
            </a:extLst>
          </p:cNvPr>
          <p:cNvSpPr txBox="1"/>
          <p:nvPr/>
        </p:nvSpPr>
        <p:spPr>
          <a:xfrm>
            <a:off x="6095999" y="4414180"/>
            <a:ext cx="3996268" cy="92333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SIFT, SURF </a:t>
            </a:r>
            <a:r>
              <a:rPr lang="en-US" dirty="0"/>
              <a:t>: </a:t>
            </a:r>
            <a:r>
              <a:rPr lang="en-US" dirty="0" err="1"/>
              <a:t>Binacular</a:t>
            </a:r>
            <a:r>
              <a:rPr lang="en-US" dirty="0"/>
              <a:t>-Vision SLAM</a:t>
            </a:r>
          </a:p>
          <a:p>
            <a:r>
              <a:rPr lang="en-US" b="1" dirty="0"/>
              <a:t>Harris Detector</a:t>
            </a:r>
            <a:r>
              <a:rPr lang="en-US" dirty="0"/>
              <a:t>: Mono-SLAM </a:t>
            </a:r>
          </a:p>
          <a:p>
            <a:r>
              <a:rPr lang="en-US" b="1" dirty="0"/>
              <a:t>ORB: </a:t>
            </a:r>
            <a:r>
              <a:rPr lang="en-US" dirty="0"/>
              <a:t>ORB-SLAM</a:t>
            </a:r>
            <a:endParaRPr lang="en-US" b="1" dirty="0"/>
          </a:p>
        </p:txBody>
      </p:sp>
      <p:pic>
        <p:nvPicPr>
          <p:cNvPr id="15" name="Picture 4" descr="GitHub - deepanshut041/feature-detection: Oriented FAST and ...">
            <a:extLst>
              <a:ext uri="{FF2B5EF4-FFF2-40B4-BE49-F238E27FC236}">
                <a16:creationId xmlns:a16="http://schemas.microsoft.com/office/drawing/2014/main" id="{4A6A5B6D-56C0-4AB6-A7F9-F8A7EB0277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806" y="1661483"/>
            <a:ext cx="3322130" cy="2222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1730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>
            <a:extLst>
              <a:ext uri="{FF2B5EF4-FFF2-40B4-BE49-F238E27FC236}">
                <a16:creationId xmlns:a16="http://schemas.microsoft.com/office/drawing/2014/main" id="{9D5A8C09-6EF3-40FE-971B-D19C29B035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4441" y="2027912"/>
            <a:ext cx="6747559" cy="3344187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tering: Dynamic observational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3004479"/>
          </a:xfrm>
        </p:spPr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Usage</a:t>
            </a:r>
          </a:p>
          <a:p>
            <a:pPr lvl="1"/>
            <a:r>
              <a:rPr lang="en-US" dirty="0"/>
              <a:t>Serves as both control and state estimation of the </a:t>
            </a:r>
            <a:r>
              <a:rPr lang="en-US" b="1" dirty="0"/>
              <a:t>filtering pipeline</a:t>
            </a:r>
          </a:p>
          <a:p>
            <a:pPr marL="0" lvl="1" indent="0">
              <a:buNone/>
            </a:pPr>
            <a:r>
              <a:rPr lang="en-US" b="1" dirty="0">
                <a:solidFill>
                  <a:prstClr val="black"/>
                </a:solidFill>
              </a:rPr>
              <a:t>Need</a:t>
            </a:r>
          </a:p>
          <a:p>
            <a:pPr lvl="1"/>
            <a:r>
              <a:rPr lang="en-US" dirty="0"/>
              <a:t>In real world, data arrives with lag so an estimation is need of state of drone at each moment in time</a:t>
            </a:r>
          </a:p>
          <a:p>
            <a:pPr marL="0" lvl="1" indent="0">
              <a:buNone/>
            </a:pPr>
            <a:endParaRPr lang="en-US" b="1" dirty="0">
              <a:solidFill>
                <a:prstClr val="black"/>
              </a:solidFill>
            </a:endParaRPr>
          </a:p>
          <a:p>
            <a:pPr marL="0" lvl="1" indent="0">
              <a:buNone/>
            </a:pP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Updating the new estimate and variance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2924F27-1E40-4163-B67E-CC2D307C9775}"/>
                  </a:ext>
                </a:extLst>
              </p:cNvPr>
              <p:cNvSpPr txBox="1"/>
              <p:nvPr/>
            </p:nvSpPr>
            <p:spPr>
              <a:xfrm>
                <a:off x="495299" y="4551835"/>
                <a:ext cx="5372101" cy="8964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sub>
                    </m:sSub>
                  </m:oMath>
                </a14:m>
                <a:r>
                  <a:rPr lang="en-US" sz="3600" dirty="0"/>
                  <a:t>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36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nor/>
                          </m:rPr>
                          <a:rPr lang="en-US" sz="3600" dirty="0"/>
                          <m:t>[</m:t>
                        </m:r>
                        <m:sSubSup>
                          <m:sSubSupPr>
                            <m:ctrlPr>
                              <a:rPr lang="en-US" sz="36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r>
                          <a:rPr lang="en-US" sz="3600" dirty="0">
                            <a:latin typeface="Cambria Math" panose="02040503050406030204" pitchFamily="18" charset="0"/>
                          </a:rPr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]</m:t>
                        </m:r>
                      </m:e>
                      <m:sup>
                        <m:r>
                          <a:rPr lang="en-US" sz="3600" b="0" i="1" dirty="0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endParaRPr lang="en-US" sz="3600" dirty="0"/>
              </a:p>
              <a:p>
                <a:pPr algn="ctr"/>
                <a:r>
                  <a:rPr lang="en-US" b="1" dirty="0"/>
                  <a:t>IMU measurement at any time T</a:t>
                </a: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2924F27-1E40-4163-B67E-CC2D307C97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299" y="4551835"/>
                <a:ext cx="5372101" cy="896464"/>
              </a:xfrm>
              <a:prstGeom prst="rect">
                <a:avLst/>
              </a:prstGeom>
              <a:blipFill>
                <a:blip r:embed="rId8"/>
                <a:stretch>
                  <a:fillRect t="-14286" b="-149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61BFFE-9437-422F-ABC1-556E3026FF0B}"/>
                  </a:ext>
                </a:extLst>
              </p:cNvPr>
              <p:cNvSpPr txBox="1"/>
              <p:nvPr/>
            </p:nvSpPr>
            <p:spPr>
              <a:xfrm>
                <a:off x="7203487" y="1194157"/>
                <a:ext cx="39962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3600" i="1" dirty="0"/>
                  <a:t> = f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</m:oMath>
                </a14:m>
                <a:r>
                  <a:rPr lang="en-US" sz="3600" i="1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3600" i="1" dirty="0"/>
                  <a:t>)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endParaRPr lang="en-US" sz="3600" i="1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61BFFE-9437-422F-ABC1-556E3026FF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3487" y="1194157"/>
                <a:ext cx="3996268" cy="553998"/>
              </a:xfrm>
              <a:prstGeom prst="rect">
                <a:avLst/>
              </a:prstGeom>
              <a:blipFill>
                <a:blip r:embed="rId9"/>
                <a:stretch>
                  <a:fillRect t="-25275" b="-483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024006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wh5GR7t0As0BK5wnUpZ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w1caxfVKck.7maQUYT_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7J6r2tzNaWxcQDcPB1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VP6HIlebQKflHTUwW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6XC.KCKKsLZGe8u_j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w1caxfVKck.7maQUYT_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6XC.KCKKsLZGe8u_j0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7C9DBAC035494BA4B1E9ED8FA870B7" ma:contentTypeVersion="10" ma:contentTypeDescription="Create a new document." ma:contentTypeScope="" ma:versionID="dff2efe89d83d1c4405129fdb35d7cc6">
  <xsd:schema xmlns:xsd="http://www.w3.org/2001/XMLSchema" xmlns:xs="http://www.w3.org/2001/XMLSchema" xmlns:p="http://schemas.microsoft.com/office/2006/metadata/properties" xmlns:ns3="ebcbd75c-e4ca-4927-bc28-c3380ef6dc55" xmlns:ns4="3aa2a15c-b9df-4e5f-a901-6d0fe1a76846" targetNamespace="http://schemas.microsoft.com/office/2006/metadata/properties" ma:root="true" ma:fieldsID="cb12f2dd359114b76f6651a9cc95deb7" ns3:_="" ns4:_="">
    <xsd:import namespace="ebcbd75c-e4ca-4927-bc28-c3380ef6dc55"/>
    <xsd:import namespace="3aa2a15c-b9df-4e5f-a901-6d0fe1a7684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cbd75c-e4ca-4927-bc28-c3380ef6dc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a2a15c-b9df-4e5f-a901-6d0fe1a768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62EFF21-054A-4F2E-893C-59FB38F61F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cbd75c-e4ca-4927-bc28-c3380ef6dc55"/>
    <ds:schemaRef ds:uri="3aa2a15c-b9df-4e5f-a901-6d0fe1a76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D8308AD-929C-4AF1-934C-AD13F105D728}">
  <ds:schemaRefs>
    <ds:schemaRef ds:uri="http://purl.org/dc/terms/"/>
    <ds:schemaRef ds:uri="ebcbd75c-e4ca-4927-bc28-c3380ef6dc55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3aa2a15c-b9df-4e5f-a901-6d0fe1a76846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1</TotalTime>
  <Words>1850</Words>
  <Application>Microsoft Office PowerPoint</Application>
  <PresentationFormat>Widescreen</PresentationFormat>
  <Paragraphs>347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6" baseType="lpstr">
      <vt:lpstr>Arial</vt:lpstr>
      <vt:lpstr>Arial Black</vt:lpstr>
      <vt:lpstr>Cambria Math</vt:lpstr>
      <vt:lpstr>Wingdings</vt:lpstr>
      <vt:lpstr>Honeywell 2019</vt:lpstr>
      <vt:lpstr>think-cell Slide</vt:lpstr>
      <vt:lpstr>Literature Review VI-SLAM VINS-Mono</vt:lpstr>
      <vt:lpstr>This presentation will cover</vt:lpstr>
      <vt:lpstr>Overview: SLAM</vt:lpstr>
      <vt:lpstr>Overview: Key modules</vt:lpstr>
      <vt:lpstr>Overview: VI-SLAM</vt:lpstr>
      <vt:lpstr>VIO Techniques: Classification</vt:lpstr>
      <vt:lpstr>Filtering Based techniques: Overview</vt:lpstr>
      <vt:lpstr>Feature Extraction and Tracking</vt:lpstr>
      <vt:lpstr>Filtering: Dynamic observational model</vt:lpstr>
      <vt:lpstr>Filtering: Dynamic observational model</vt:lpstr>
      <vt:lpstr>Filtering: Dynamic observational model</vt:lpstr>
      <vt:lpstr>VINS-MONO Modules and working</vt:lpstr>
      <vt:lpstr>VINS-Mono: Introduction</vt:lpstr>
      <vt:lpstr>VINS-Mono: Introduction</vt:lpstr>
      <vt:lpstr>VINS-Mono: Introduction</vt:lpstr>
      <vt:lpstr>VINS-Mono: Pre-Processing</vt:lpstr>
      <vt:lpstr>VINS-Mono: Pre-Processing</vt:lpstr>
      <vt:lpstr>VINS-Mono: Pre-Processing</vt:lpstr>
      <vt:lpstr>VINS-Mono: Pre-Processing</vt:lpstr>
      <vt:lpstr>VINS-Mono: INITIALIZATION initial estimate of position, orientation, velocity, scale, bias</vt:lpstr>
      <vt:lpstr>VINS-Mono: INITIALIZATION initial estimate of position, orientation, velocity, scale, bias</vt:lpstr>
      <vt:lpstr>VINS-Mono: Core VIO Algorithm</vt:lpstr>
      <vt:lpstr>VINS-Mono: Core VIO Algorithm</vt:lpstr>
      <vt:lpstr>VINS-Mono: Core VIO Algorithm</vt:lpstr>
      <vt:lpstr>VINS-Mono: Core VIO Algorithm</vt:lpstr>
      <vt:lpstr>VINS-Mono: Relocalization v/s Pose Graph</vt:lpstr>
      <vt:lpstr>VINS-Mono: Relocalization</vt:lpstr>
      <vt:lpstr>VINS-Mono: Global Pose Graph Optimizatio</vt:lpstr>
      <vt:lpstr>VINS-Mono: Working</vt:lpstr>
      <vt:lpstr>VINS-Mono: Temporal Caliberation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19</dc:title>
  <dc:creator>Akif.Ahmad@Honeywell.com</dc:creator>
  <cp:lastModifiedBy>Pandey, Ritvik</cp:lastModifiedBy>
  <cp:revision>86</cp:revision>
  <dcterms:created xsi:type="dcterms:W3CDTF">2019-07-18T16:20:17Z</dcterms:created>
  <dcterms:modified xsi:type="dcterms:W3CDTF">2020-06-30T10:5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7C9DBAC035494BA4B1E9ED8FA870B7</vt:lpwstr>
  </property>
</Properties>
</file>